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20"/>
  </p:sldMasterIdLst>
  <p:notesMasterIdLst>
    <p:notesMasterId r:id="rId56"/>
  </p:notesMasterIdLst>
  <p:handoutMasterIdLst>
    <p:handoutMasterId r:id="rId57"/>
  </p:handoutMasterIdLst>
  <p:sldIdLst>
    <p:sldId id="259" r:id="rId21"/>
    <p:sldId id="261" r:id="rId22"/>
    <p:sldId id="267" r:id="rId23"/>
    <p:sldId id="1857" r:id="rId24"/>
    <p:sldId id="2152" r:id="rId25"/>
    <p:sldId id="1853" r:id="rId26"/>
    <p:sldId id="2163" r:id="rId27"/>
    <p:sldId id="1864" r:id="rId28"/>
    <p:sldId id="324" r:id="rId29"/>
    <p:sldId id="325" r:id="rId30"/>
    <p:sldId id="326" r:id="rId31"/>
    <p:sldId id="2140" r:id="rId32"/>
    <p:sldId id="2146" r:id="rId33"/>
    <p:sldId id="2148" r:id="rId34"/>
    <p:sldId id="1865" r:id="rId35"/>
    <p:sldId id="2147" r:id="rId36"/>
    <p:sldId id="1859" r:id="rId37"/>
    <p:sldId id="1871" r:id="rId38"/>
    <p:sldId id="2142" r:id="rId39"/>
    <p:sldId id="2149" r:id="rId40"/>
    <p:sldId id="2150" r:id="rId41"/>
    <p:sldId id="2151" r:id="rId42"/>
    <p:sldId id="2153" r:id="rId43"/>
    <p:sldId id="2154" r:id="rId44"/>
    <p:sldId id="2156" r:id="rId45"/>
    <p:sldId id="2155" r:id="rId46"/>
    <p:sldId id="2157" r:id="rId47"/>
    <p:sldId id="1854" r:id="rId48"/>
    <p:sldId id="2158" r:id="rId49"/>
    <p:sldId id="2159" r:id="rId50"/>
    <p:sldId id="2160" r:id="rId51"/>
    <p:sldId id="2161" r:id="rId52"/>
    <p:sldId id="2162" r:id="rId53"/>
    <p:sldId id="2144" r:id="rId54"/>
    <p:sldId id="265" r:id="rId5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DB23F9-92A4-450B-9C6E-06CBD5498E63}" v="12" dt="2022-06-22T08:34:14.0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75" autoAdjust="0"/>
    <p:restoredTop sz="89688" autoAdjust="0"/>
  </p:normalViewPr>
  <p:slideViewPr>
    <p:cSldViewPr snapToGrid="0">
      <p:cViewPr varScale="1">
        <p:scale>
          <a:sx n="100" d="100"/>
          <a:sy n="100" d="100"/>
        </p:scale>
        <p:origin x="576" y="84"/>
      </p:cViewPr>
      <p:guideLst/>
    </p:cSldViewPr>
  </p:slideViewPr>
  <p:outlineViewPr>
    <p:cViewPr>
      <p:scale>
        <a:sx n="33" d="100"/>
        <a:sy n="33" d="100"/>
      </p:scale>
      <p:origin x="0" y="-6516"/>
    </p:cViewPr>
    <p:sldLst>
      <p:sld r:id="rId1" collapse="1"/>
    </p:sldLst>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4" d="100"/>
          <a:sy n="84" d="100"/>
        </p:scale>
        <p:origin x="3828"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microsoft.com/office/2016/11/relationships/changesInfo" Target="changesInfos/changesInfo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9.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commentAuthors" Target="commentAuthors.xml"/><Relationship Id="rId5" Type="http://schemas.openxmlformats.org/officeDocument/2006/relationships/customXml" Target="../customXml/item5.xml"/><Relationship Id="rId61" Type="http://schemas.openxmlformats.org/officeDocument/2006/relationships/theme" Target="theme/theme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notesMaster" Target="notesMasters/notesMaster1.xml"/><Relationship Id="rId64"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3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presProps" Target="presProps.xml"/><Relationship Id="rId20" Type="http://schemas.openxmlformats.org/officeDocument/2006/relationships/slideMaster" Target="slideMasters/slideMaster1.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handoutMaster" Target="handoutMasters/handoutMaster1.xml"/><Relationship Id="rId10" Type="http://schemas.openxmlformats.org/officeDocument/2006/relationships/customXml" Target="../customXml/item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s>
</file>

<file path=ppt/_rels/viewProps.xml.rels><?xml version="1.0" encoding="UTF-8" standalone="yes"?>
<Relationships xmlns="http://schemas.openxmlformats.org/package/2006/relationships"><Relationship Id="rId1" Type="http://schemas.openxmlformats.org/officeDocument/2006/relationships/slide" Target="slides/slide1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imund Andrée" userId="0cf943988599aae0" providerId="LiveId" clId="{AA6A8786-E6E9-4500-8C5D-D3CF94DD6525}"/>
    <pc:docChg chg="undo redo custSel addSld delSld modSld sldOrd modSection">
      <pc:chgData name="Raimund Andrée" userId="0cf943988599aae0" providerId="LiveId" clId="{AA6A8786-E6E9-4500-8C5D-D3CF94DD6525}" dt="2019-09-18T12:54:21.266" v="641" actId="20577"/>
      <pc:docMkLst>
        <pc:docMk/>
      </pc:docMkLst>
      <pc:sldChg chg="add del">
        <pc:chgData name="Raimund Andrée" userId="0cf943988599aae0" providerId="LiveId" clId="{AA6A8786-E6E9-4500-8C5D-D3CF94DD6525}" dt="2019-09-18T12:44:52.984" v="432"/>
        <pc:sldMkLst>
          <pc:docMk/>
          <pc:sldMk cId="1317893411" sldId="269"/>
        </pc:sldMkLst>
      </pc:sldChg>
      <pc:sldChg chg="addSp delSp modSp ord delAnim">
        <pc:chgData name="Raimund Andrée" userId="0cf943988599aae0" providerId="LiveId" clId="{AA6A8786-E6E9-4500-8C5D-D3CF94DD6525}" dt="2019-09-18T12:45:44.926" v="465" actId="1036"/>
        <pc:sldMkLst>
          <pc:docMk/>
          <pc:sldMk cId="356421108" sldId="1362"/>
        </pc:sldMkLst>
        <pc:spChg chg="mod">
          <ac:chgData name="Raimund Andrée" userId="0cf943988599aae0" providerId="LiveId" clId="{AA6A8786-E6E9-4500-8C5D-D3CF94DD6525}" dt="2019-09-18T12:45:40.188" v="459"/>
          <ac:spMkLst>
            <pc:docMk/>
            <pc:sldMk cId="356421108" sldId="1362"/>
            <ac:spMk id="3" creationId="{0EB5A4A4-7772-4665-9792-09D13F72C4A1}"/>
          </ac:spMkLst>
        </pc:spChg>
        <pc:spChg chg="del">
          <ac:chgData name="Raimund Andrée" userId="0cf943988599aae0" providerId="LiveId" clId="{AA6A8786-E6E9-4500-8C5D-D3CF94DD6525}" dt="2019-09-18T12:45:12.993" v="433" actId="478"/>
          <ac:spMkLst>
            <pc:docMk/>
            <pc:sldMk cId="356421108" sldId="1362"/>
            <ac:spMk id="4" creationId="{E09B1B76-351A-4CDA-8DF0-3E87A2F689FE}"/>
          </ac:spMkLst>
        </pc:spChg>
        <pc:spChg chg="del">
          <ac:chgData name="Raimund Andrée" userId="0cf943988599aae0" providerId="LiveId" clId="{AA6A8786-E6E9-4500-8C5D-D3CF94DD6525}" dt="2019-09-18T12:45:12.993" v="433" actId="478"/>
          <ac:spMkLst>
            <pc:docMk/>
            <pc:sldMk cId="356421108" sldId="1362"/>
            <ac:spMk id="22" creationId="{E46DDD33-2C2C-406C-9CB9-47D7D570A6C9}"/>
          </ac:spMkLst>
        </pc:spChg>
        <pc:spChg chg="del">
          <ac:chgData name="Raimund Andrée" userId="0cf943988599aae0" providerId="LiveId" clId="{AA6A8786-E6E9-4500-8C5D-D3CF94DD6525}" dt="2019-09-18T12:45:12.993" v="433" actId="478"/>
          <ac:spMkLst>
            <pc:docMk/>
            <pc:sldMk cId="356421108" sldId="1362"/>
            <ac:spMk id="26" creationId="{BD5BDD0D-3F25-4548-B031-8C33359F4B5B}"/>
          </ac:spMkLst>
        </pc:spChg>
        <pc:spChg chg="del">
          <ac:chgData name="Raimund Andrée" userId="0cf943988599aae0" providerId="LiveId" clId="{AA6A8786-E6E9-4500-8C5D-D3CF94DD6525}" dt="2019-09-18T12:45:12.993" v="433" actId="478"/>
          <ac:spMkLst>
            <pc:docMk/>
            <pc:sldMk cId="356421108" sldId="1362"/>
            <ac:spMk id="30" creationId="{42A39A83-62B9-45D0-8484-4CCE15415494}"/>
          </ac:spMkLst>
        </pc:spChg>
        <pc:spChg chg="del">
          <ac:chgData name="Raimund Andrée" userId="0cf943988599aae0" providerId="LiveId" clId="{AA6A8786-E6E9-4500-8C5D-D3CF94DD6525}" dt="2019-09-18T12:45:12.993" v="433" actId="478"/>
          <ac:spMkLst>
            <pc:docMk/>
            <pc:sldMk cId="356421108" sldId="1362"/>
            <ac:spMk id="64" creationId="{68C6EE37-476F-4704-8C7E-DC0553C72A81}"/>
          </ac:spMkLst>
        </pc:spChg>
        <pc:spChg chg="del">
          <ac:chgData name="Raimund Andrée" userId="0cf943988599aae0" providerId="LiveId" clId="{AA6A8786-E6E9-4500-8C5D-D3CF94DD6525}" dt="2019-09-18T12:45:12.993" v="433" actId="478"/>
          <ac:spMkLst>
            <pc:docMk/>
            <pc:sldMk cId="356421108" sldId="1362"/>
            <ac:spMk id="65" creationId="{F1D29A0D-2F91-4741-BD7B-C42C3003E3AF}"/>
          </ac:spMkLst>
        </pc:spChg>
        <pc:spChg chg="del">
          <ac:chgData name="Raimund Andrée" userId="0cf943988599aae0" providerId="LiveId" clId="{AA6A8786-E6E9-4500-8C5D-D3CF94DD6525}" dt="2019-09-18T12:45:12.993" v="433" actId="478"/>
          <ac:spMkLst>
            <pc:docMk/>
            <pc:sldMk cId="356421108" sldId="1362"/>
            <ac:spMk id="66" creationId="{B9105860-EB24-4B89-AD19-E3BF74696C7B}"/>
          </ac:spMkLst>
        </pc:spChg>
        <pc:spChg chg="del">
          <ac:chgData name="Raimund Andrée" userId="0cf943988599aae0" providerId="LiveId" clId="{AA6A8786-E6E9-4500-8C5D-D3CF94DD6525}" dt="2019-09-18T12:45:12.993" v="433" actId="478"/>
          <ac:spMkLst>
            <pc:docMk/>
            <pc:sldMk cId="356421108" sldId="1362"/>
            <ac:spMk id="67" creationId="{C81C1D3A-EBC0-41E1-B075-1764133DE933}"/>
          </ac:spMkLst>
        </pc:spChg>
        <pc:spChg chg="add mod">
          <ac:chgData name="Raimund Andrée" userId="0cf943988599aae0" providerId="LiveId" clId="{AA6A8786-E6E9-4500-8C5D-D3CF94DD6525}" dt="2019-09-18T12:45:18.525" v="449" actId="1035"/>
          <ac:spMkLst>
            <pc:docMk/>
            <pc:sldMk cId="356421108" sldId="1362"/>
            <ac:spMk id="69" creationId="{4DFBEAE5-D356-452E-966E-EB16C18314A9}"/>
          </ac:spMkLst>
        </pc:spChg>
        <pc:spChg chg="add mod">
          <ac:chgData name="Raimund Andrée" userId="0cf943988599aae0" providerId="LiveId" clId="{AA6A8786-E6E9-4500-8C5D-D3CF94DD6525}" dt="2019-09-18T12:45:18.525" v="449" actId="1035"/>
          <ac:spMkLst>
            <pc:docMk/>
            <pc:sldMk cId="356421108" sldId="1362"/>
            <ac:spMk id="70" creationId="{7FE6C8E1-D68E-4EDC-8F91-B5CB416EB139}"/>
          </ac:spMkLst>
        </pc:spChg>
        <pc:spChg chg="add mod">
          <ac:chgData name="Raimund Andrée" userId="0cf943988599aae0" providerId="LiveId" clId="{AA6A8786-E6E9-4500-8C5D-D3CF94DD6525}" dt="2019-09-18T12:45:18.525" v="449" actId="1035"/>
          <ac:spMkLst>
            <pc:docMk/>
            <pc:sldMk cId="356421108" sldId="1362"/>
            <ac:spMk id="73" creationId="{ABE96671-801A-44A3-9B6E-09CC222E9F4C}"/>
          </ac:spMkLst>
        </pc:spChg>
        <pc:spChg chg="add mod">
          <ac:chgData name="Raimund Andrée" userId="0cf943988599aae0" providerId="LiveId" clId="{AA6A8786-E6E9-4500-8C5D-D3CF94DD6525}" dt="2019-09-18T12:45:44.926" v="465" actId="1036"/>
          <ac:spMkLst>
            <pc:docMk/>
            <pc:sldMk cId="356421108" sldId="1362"/>
            <ac:spMk id="75" creationId="{EFF0D591-E389-4C8A-B5D8-28568C5EEA62}"/>
          </ac:spMkLst>
        </pc:spChg>
        <pc:grpChg chg="del">
          <ac:chgData name="Raimund Andrée" userId="0cf943988599aae0" providerId="LiveId" clId="{AA6A8786-E6E9-4500-8C5D-D3CF94DD6525}" dt="2019-09-18T12:45:12.993" v="433" actId="478"/>
          <ac:grpSpMkLst>
            <pc:docMk/>
            <pc:sldMk cId="356421108" sldId="1362"/>
            <ac:grpSpMk id="10" creationId="{60ECD5A4-2D00-4164-9F13-CA590D51C785}"/>
          </ac:grpSpMkLst>
        </pc:grpChg>
        <pc:grpChg chg="del">
          <ac:chgData name="Raimund Andrée" userId="0cf943988599aae0" providerId="LiveId" clId="{AA6A8786-E6E9-4500-8C5D-D3CF94DD6525}" dt="2019-09-18T12:45:12.993" v="433" actId="478"/>
          <ac:grpSpMkLst>
            <pc:docMk/>
            <pc:sldMk cId="356421108" sldId="1362"/>
            <ac:grpSpMk id="15" creationId="{164B4CC1-76E8-4D77-8BD2-483657B0425A}"/>
          </ac:grpSpMkLst>
        </pc:grpChg>
        <pc:grpChg chg="del">
          <ac:chgData name="Raimund Andrée" userId="0cf943988599aae0" providerId="LiveId" clId="{AA6A8786-E6E9-4500-8C5D-D3CF94DD6525}" dt="2019-09-18T12:45:12.993" v="433" actId="478"/>
          <ac:grpSpMkLst>
            <pc:docMk/>
            <pc:sldMk cId="356421108" sldId="1362"/>
            <ac:grpSpMk id="23" creationId="{712D0428-F038-474D-A445-D2B87EFC061E}"/>
          </ac:grpSpMkLst>
        </pc:grpChg>
        <pc:grpChg chg="del">
          <ac:chgData name="Raimund Andrée" userId="0cf943988599aae0" providerId="LiveId" clId="{AA6A8786-E6E9-4500-8C5D-D3CF94DD6525}" dt="2019-09-18T12:45:12.993" v="433" actId="478"/>
          <ac:grpSpMkLst>
            <pc:docMk/>
            <pc:sldMk cId="356421108" sldId="1362"/>
            <ac:grpSpMk id="27" creationId="{92466907-58B4-4E40-9601-36AEACF4C4B1}"/>
          </ac:grpSpMkLst>
        </pc:grpChg>
        <pc:grpChg chg="del">
          <ac:chgData name="Raimund Andrée" userId="0cf943988599aae0" providerId="LiveId" clId="{AA6A8786-E6E9-4500-8C5D-D3CF94DD6525}" dt="2019-09-18T12:45:12.993" v="433" actId="478"/>
          <ac:grpSpMkLst>
            <pc:docMk/>
            <pc:sldMk cId="356421108" sldId="1362"/>
            <ac:grpSpMk id="40" creationId="{36AC6209-44DE-450D-8DBE-C1B2C12139E3}"/>
          </ac:grpSpMkLst>
        </pc:grpChg>
        <pc:grpChg chg="del">
          <ac:chgData name="Raimund Andrée" userId="0cf943988599aae0" providerId="LiveId" clId="{AA6A8786-E6E9-4500-8C5D-D3CF94DD6525}" dt="2019-09-18T12:45:12.993" v="433" actId="478"/>
          <ac:grpSpMkLst>
            <pc:docMk/>
            <pc:sldMk cId="356421108" sldId="1362"/>
            <ac:grpSpMk id="41" creationId="{F65450D9-EC99-4B76-805D-74054A7FE279}"/>
          </ac:grpSpMkLst>
        </pc:grpChg>
        <pc:grpChg chg="del">
          <ac:chgData name="Raimund Andrée" userId="0cf943988599aae0" providerId="LiveId" clId="{AA6A8786-E6E9-4500-8C5D-D3CF94DD6525}" dt="2019-09-18T12:45:12.993" v="433" actId="478"/>
          <ac:grpSpMkLst>
            <pc:docMk/>
            <pc:sldMk cId="356421108" sldId="1362"/>
            <ac:grpSpMk id="59" creationId="{B5920766-E00F-4B09-A063-F25EC6F78DFF}"/>
          </ac:grpSpMkLst>
        </pc:grpChg>
        <pc:grpChg chg="del">
          <ac:chgData name="Raimund Andrée" userId="0cf943988599aae0" providerId="LiveId" clId="{AA6A8786-E6E9-4500-8C5D-D3CF94DD6525}" dt="2019-09-18T12:45:12.993" v="433" actId="478"/>
          <ac:grpSpMkLst>
            <pc:docMk/>
            <pc:sldMk cId="356421108" sldId="1362"/>
            <ac:grpSpMk id="60" creationId="{1B794465-5E30-458D-A740-16EF34F50B08}"/>
          </ac:grpSpMkLst>
        </pc:grpChg>
        <pc:grpChg chg="del">
          <ac:chgData name="Raimund Andrée" userId="0cf943988599aae0" providerId="LiveId" clId="{AA6A8786-E6E9-4500-8C5D-D3CF94DD6525}" dt="2019-09-18T12:45:12.993" v="433" actId="478"/>
          <ac:grpSpMkLst>
            <pc:docMk/>
            <pc:sldMk cId="356421108" sldId="1362"/>
            <ac:grpSpMk id="61" creationId="{B728A1BA-FAE9-4894-8C12-99717FCC1967}"/>
          </ac:grpSpMkLst>
        </pc:grpChg>
        <pc:picChg chg="del">
          <ac:chgData name="Raimund Andrée" userId="0cf943988599aae0" providerId="LiveId" clId="{AA6A8786-E6E9-4500-8C5D-D3CF94DD6525}" dt="2019-09-18T12:45:12.993" v="433" actId="478"/>
          <ac:picMkLst>
            <pc:docMk/>
            <pc:sldMk cId="356421108" sldId="1362"/>
            <ac:picMk id="11" creationId="{9EF2E1D8-CA5D-49D1-A4C7-B9EBC7DCD5CD}"/>
          </ac:picMkLst>
        </pc:picChg>
        <pc:picChg chg="del">
          <ac:chgData name="Raimund Andrée" userId="0cf943988599aae0" providerId="LiveId" clId="{AA6A8786-E6E9-4500-8C5D-D3CF94DD6525}" dt="2019-09-18T12:45:12.993" v="433" actId="478"/>
          <ac:picMkLst>
            <pc:docMk/>
            <pc:sldMk cId="356421108" sldId="1362"/>
            <ac:picMk id="31" creationId="{407B1EA4-8C15-4F2C-83E0-470E8EA5DD4D}"/>
          </ac:picMkLst>
        </pc:picChg>
        <pc:picChg chg="del">
          <ac:chgData name="Raimund Andrée" userId="0cf943988599aae0" providerId="LiveId" clId="{AA6A8786-E6E9-4500-8C5D-D3CF94DD6525}" dt="2019-09-18T12:45:12.993" v="433" actId="478"/>
          <ac:picMkLst>
            <pc:docMk/>
            <pc:sldMk cId="356421108" sldId="1362"/>
            <ac:picMk id="62" creationId="{EDF782CF-4E60-4FAB-BB36-00BA3789BCDB}"/>
          </ac:picMkLst>
        </pc:picChg>
        <pc:picChg chg="del">
          <ac:chgData name="Raimund Andrée" userId="0cf943988599aae0" providerId="LiveId" clId="{AA6A8786-E6E9-4500-8C5D-D3CF94DD6525}" dt="2019-09-18T12:45:12.993" v="433" actId="478"/>
          <ac:picMkLst>
            <pc:docMk/>
            <pc:sldMk cId="356421108" sldId="1362"/>
            <ac:picMk id="63" creationId="{B31AC2CB-0C37-4949-99FF-9F7B1DA8CE8C}"/>
          </ac:picMkLst>
        </pc:picChg>
        <pc:picChg chg="add mod">
          <ac:chgData name="Raimund Andrée" userId="0cf943988599aae0" providerId="LiveId" clId="{AA6A8786-E6E9-4500-8C5D-D3CF94DD6525}" dt="2019-09-18T12:45:18.525" v="449" actId="1035"/>
          <ac:picMkLst>
            <pc:docMk/>
            <pc:sldMk cId="356421108" sldId="1362"/>
            <ac:picMk id="68" creationId="{389D7B25-7C2C-490B-987E-DC1622BC23A8}"/>
          </ac:picMkLst>
        </pc:picChg>
        <pc:picChg chg="add mod">
          <ac:chgData name="Raimund Andrée" userId="0cf943988599aae0" providerId="LiveId" clId="{AA6A8786-E6E9-4500-8C5D-D3CF94DD6525}" dt="2019-09-18T12:45:18.525" v="449" actId="1035"/>
          <ac:picMkLst>
            <pc:docMk/>
            <pc:sldMk cId="356421108" sldId="1362"/>
            <ac:picMk id="71" creationId="{640C467E-9ABA-4EF0-B99A-3F0301E1B1CF}"/>
          </ac:picMkLst>
        </pc:picChg>
        <pc:picChg chg="add mod">
          <ac:chgData name="Raimund Andrée" userId="0cf943988599aae0" providerId="LiveId" clId="{AA6A8786-E6E9-4500-8C5D-D3CF94DD6525}" dt="2019-09-18T12:45:18.525" v="449" actId="1035"/>
          <ac:picMkLst>
            <pc:docMk/>
            <pc:sldMk cId="356421108" sldId="1362"/>
            <ac:picMk id="72" creationId="{A0256FD5-FDA4-4CB6-ADB8-D669D5092DE5}"/>
          </ac:picMkLst>
        </pc:picChg>
        <pc:cxnChg chg="add mod">
          <ac:chgData name="Raimund Andrée" userId="0cf943988599aae0" providerId="LiveId" clId="{AA6A8786-E6E9-4500-8C5D-D3CF94DD6525}" dt="2019-09-18T12:45:18.525" v="449" actId="1035"/>
          <ac:cxnSpMkLst>
            <pc:docMk/>
            <pc:sldMk cId="356421108" sldId="1362"/>
            <ac:cxnSpMk id="74" creationId="{6CF76ACC-2D07-4254-A418-58F27CAEB9FB}"/>
          </ac:cxnSpMkLst>
        </pc:cxnChg>
      </pc:sldChg>
      <pc:sldChg chg="ord">
        <pc:chgData name="Raimund Andrée" userId="0cf943988599aae0" providerId="LiveId" clId="{AA6A8786-E6E9-4500-8C5D-D3CF94DD6525}" dt="2019-09-18T12:23:30.983" v="5"/>
        <pc:sldMkLst>
          <pc:docMk/>
          <pc:sldMk cId="2892219758" sldId="1845"/>
        </pc:sldMkLst>
      </pc:sldChg>
      <pc:sldChg chg="modSp ord">
        <pc:chgData name="Raimund Andrée" userId="0cf943988599aae0" providerId="LiveId" clId="{AA6A8786-E6E9-4500-8C5D-D3CF94DD6525}" dt="2019-09-18T12:49:38.181" v="553" actId="20577"/>
        <pc:sldMkLst>
          <pc:docMk/>
          <pc:sldMk cId="3491184216" sldId="1846"/>
        </pc:sldMkLst>
        <pc:spChg chg="mod">
          <ac:chgData name="Raimund Andrée" userId="0cf943988599aae0" providerId="LiveId" clId="{AA6A8786-E6E9-4500-8C5D-D3CF94DD6525}" dt="2019-09-18T12:49:25.560" v="536" actId="313"/>
          <ac:spMkLst>
            <pc:docMk/>
            <pc:sldMk cId="3491184216" sldId="1846"/>
            <ac:spMk id="4" creationId="{00000000-0000-0000-0000-000000000000}"/>
          </ac:spMkLst>
        </pc:spChg>
        <pc:spChg chg="mod">
          <ac:chgData name="Raimund Andrée" userId="0cf943988599aae0" providerId="LiveId" clId="{AA6A8786-E6E9-4500-8C5D-D3CF94DD6525}" dt="2019-09-18T12:49:38.181" v="553" actId="20577"/>
          <ac:spMkLst>
            <pc:docMk/>
            <pc:sldMk cId="3491184216" sldId="1846"/>
            <ac:spMk id="5" creationId="{00000000-0000-0000-0000-000000000000}"/>
          </ac:spMkLst>
        </pc:spChg>
      </pc:sldChg>
      <pc:sldChg chg="modSp ord">
        <pc:chgData name="Raimund Andrée" userId="0cf943988599aae0" providerId="LiveId" clId="{AA6A8786-E6E9-4500-8C5D-D3CF94DD6525}" dt="2019-09-18T12:50:51.143" v="576" actId="20577"/>
        <pc:sldMkLst>
          <pc:docMk/>
          <pc:sldMk cId="1276507350" sldId="1847"/>
        </pc:sldMkLst>
        <pc:spChg chg="mod">
          <ac:chgData name="Raimund Andrée" userId="0cf943988599aae0" providerId="LiveId" clId="{AA6A8786-E6E9-4500-8C5D-D3CF94DD6525}" dt="2019-09-18T12:50:03.700" v="562" actId="20577"/>
          <ac:spMkLst>
            <pc:docMk/>
            <pc:sldMk cId="1276507350" sldId="1847"/>
            <ac:spMk id="4" creationId="{00000000-0000-0000-0000-000000000000}"/>
          </ac:spMkLst>
        </pc:spChg>
        <pc:spChg chg="mod">
          <ac:chgData name="Raimund Andrée" userId="0cf943988599aae0" providerId="LiveId" clId="{AA6A8786-E6E9-4500-8C5D-D3CF94DD6525}" dt="2019-09-18T12:50:51.143" v="576" actId="20577"/>
          <ac:spMkLst>
            <pc:docMk/>
            <pc:sldMk cId="1276507350" sldId="1847"/>
            <ac:spMk id="5" creationId="{00000000-0000-0000-0000-000000000000}"/>
          </ac:spMkLst>
        </pc:spChg>
      </pc:sldChg>
      <pc:sldChg chg="del ord">
        <pc:chgData name="Raimund Andrée" userId="0cf943988599aae0" providerId="LiveId" clId="{AA6A8786-E6E9-4500-8C5D-D3CF94DD6525}" dt="2019-09-18T12:53:27.007" v="602" actId="2696"/>
        <pc:sldMkLst>
          <pc:docMk/>
          <pc:sldMk cId="186287909" sldId="1848"/>
        </pc:sldMkLst>
      </pc:sldChg>
      <pc:sldChg chg="ord">
        <pc:chgData name="Raimund Andrée" userId="0cf943988599aae0" providerId="LiveId" clId="{AA6A8786-E6E9-4500-8C5D-D3CF94DD6525}" dt="2019-09-18T12:23:27.468" v="4"/>
        <pc:sldMkLst>
          <pc:docMk/>
          <pc:sldMk cId="2490975161" sldId="1851"/>
        </pc:sldMkLst>
      </pc:sldChg>
      <pc:sldChg chg="ord">
        <pc:chgData name="Raimund Andrée" userId="0cf943988599aae0" providerId="LiveId" clId="{AA6A8786-E6E9-4500-8C5D-D3CF94DD6525}" dt="2019-09-18T12:23:27.468" v="4"/>
        <pc:sldMkLst>
          <pc:docMk/>
          <pc:sldMk cId="4014814200" sldId="1852"/>
        </pc:sldMkLst>
      </pc:sldChg>
      <pc:sldChg chg="modSp ord">
        <pc:chgData name="Raimund Andrée" userId="0cf943988599aae0" providerId="LiveId" clId="{AA6A8786-E6E9-4500-8C5D-D3CF94DD6525}" dt="2019-09-18T12:23:52.909" v="8" actId="20577"/>
        <pc:sldMkLst>
          <pc:docMk/>
          <pc:sldMk cId="225924487" sldId="1853"/>
        </pc:sldMkLst>
        <pc:spChg chg="mod">
          <ac:chgData name="Raimund Andrée" userId="0cf943988599aae0" providerId="LiveId" clId="{AA6A8786-E6E9-4500-8C5D-D3CF94DD6525}" dt="2019-09-18T12:23:52.909" v="8" actId="20577"/>
          <ac:spMkLst>
            <pc:docMk/>
            <pc:sldMk cId="225924487" sldId="1853"/>
            <ac:spMk id="2" creationId="{0CED1F24-0E42-4CEB-8F7B-D9267C83299F}"/>
          </ac:spMkLst>
        </pc:spChg>
      </pc:sldChg>
      <pc:sldChg chg="addSp delSp modSp ord">
        <pc:chgData name="Raimund Andrée" userId="0cf943988599aae0" providerId="LiveId" clId="{AA6A8786-E6E9-4500-8C5D-D3CF94DD6525}" dt="2019-09-18T12:34:59.547" v="314"/>
        <pc:sldMkLst>
          <pc:docMk/>
          <pc:sldMk cId="2379934573" sldId="1854"/>
        </pc:sldMkLst>
        <pc:spChg chg="del">
          <ac:chgData name="Raimund Andrée" userId="0cf943988599aae0" providerId="LiveId" clId="{AA6A8786-E6E9-4500-8C5D-D3CF94DD6525}" dt="2019-09-18T12:34:56.841" v="312" actId="478"/>
          <ac:spMkLst>
            <pc:docMk/>
            <pc:sldMk cId="2379934573" sldId="1854"/>
            <ac:spMk id="2" creationId="{90CB7689-2B7D-4533-BD2E-8CDF17E379E3}"/>
          </ac:spMkLst>
        </pc:spChg>
        <pc:spChg chg="add del mod">
          <ac:chgData name="Raimund Andrée" userId="0cf943988599aae0" providerId="LiveId" clId="{AA6A8786-E6E9-4500-8C5D-D3CF94DD6525}" dt="2019-09-18T12:34:58.827" v="313" actId="478"/>
          <ac:spMkLst>
            <pc:docMk/>
            <pc:sldMk cId="2379934573" sldId="1854"/>
            <ac:spMk id="4" creationId="{1E7F2277-4DA3-411C-AC8B-CCD7C1DA6A76}"/>
          </ac:spMkLst>
        </pc:spChg>
        <pc:picChg chg="add">
          <ac:chgData name="Raimund Andrée" userId="0cf943988599aae0" providerId="LiveId" clId="{AA6A8786-E6E9-4500-8C5D-D3CF94DD6525}" dt="2019-09-18T12:34:59.547" v="314"/>
          <ac:picMkLst>
            <pc:docMk/>
            <pc:sldMk cId="2379934573" sldId="1854"/>
            <ac:picMk id="5" creationId="{6831AC89-A242-418C-85A1-FAB37775D348}"/>
          </ac:picMkLst>
        </pc:picChg>
      </pc:sldChg>
      <pc:sldChg chg="del ord">
        <pc:chgData name="Raimund Andrée" userId="0cf943988599aae0" providerId="LiveId" clId="{AA6A8786-E6E9-4500-8C5D-D3CF94DD6525}" dt="2019-09-18T12:42:01.211" v="425" actId="2696"/>
        <pc:sldMkLst>
          <pc:docMk/>
          <pc:sldMk cId="2205304497" sldId="1855"/>
        </pc:sldMkLst>
      </pc:sldChg>
      <pc:sldChg chg="modSp ord">
        <pc:chgData name="Raimund Andrée" userId="0cf943988599aae0" providerId="LiveId" clId="{AA6A8786-E6E9-4500-8C5D-D3CF94DD6525}" dt="2019-09-18T12:36:30.040" v="374" actId="20577"/>
        <pc:sldMkLst>
          <pc:docMk/>
          <pc:sldMk cId="899786852" sldId="1856"/>
        </pc:sldMkLst>
        <pc:spChg chg="mod">
          <ac:chgData name="Raimund Andrée" userId="0cf943988599aae0" providerId="LiveId" clId="{AA6A8786-E6E9-4500-8C5D-D3CF94DD6525}" dt="2019-09-18T12:36:30.040" v="374" actId="20577"/>
          <ac:spMkLst>
            <pc:docMk/>
            <pc:sldMk cId="899786852" sldId="1856"/>
            <ac:spMk id="2" creationId="{81C405F2-D942-4474-8E28-E6EF6CF458AB}"/>
          </ac:spMkLst>
        </pc:spChg>
        <pc:spChg chg="mod">
          <ac:chgData name="Raimund Andrée" userId="0cf943988599aae0" providerId="LiveId" clId="{AA6A8786-E6E9-4500-8C5D-D3CF94DD6525}" dt="2019-09-18T12:36:04.512" v="344" actId="20577"/>
          <ac:spMkLst>
            <pc:docMk/>
            <pc:sldMk cId="899786852" sldId="1856"/>
            <ac:spMk id="3" creationId="{1FA2591C-7667-45C6-9F30-C54D7677DEEC}"/>
          </ac:spMkLst>
        </pc:spChg>
      </pc:sldChg>
      <pc:sldChg chg="ord">
        <pc:chgData name="Raimund Andrée" userId="0cf943988599aae0" providerId="LiveId" clId="{AA6A8786-E6E9-4500-8C5D-D3CF94DD6525}" dt="2019-09-18T12:23:36.666" v="6"/>
        <pc:sldMkLst>
          <pc:docMk/>
          <pc:sldMk cId="2980022429" sldId="1857"/>
        </pc:sldMkLst>
      </pc:sldChg>
      <pc:sldChg chg="modSp ord">
        <pc:chgData name="Raimund Andrée" userId="0cf943988599aae0" providerId="LiveId" clId="{AA6A8786-E6E9-4500-8C5D-D3CF94DD6525}" dt="2019-09-18T12:31:39.605" v="276"/>
        <pc:sldMkLst>
          <pc:docMk/>
          <pc:sldMk cId="58030208" sldId="1858"/>
        </pc:sldMkLst>
        <pc:spChg chg="mod">
          <ac:chgData name="Raimund Andrée" userId="0cf943988599aae0" providerId="LiveId" clId="{AA6A8786-E6E9-4500-8C5D-D3CF94DD6525}" dt="2019-09-18T12:31:39.605" v="276"/>
          <ac:spMkLst>
            <pc:docMk/>
            <pc:sldMk cId="58030208" sldId="1858"/>
            <ac:spMk id="3" creationId="{DAE7BC2A-793A-4B4B-91A9-7BB1207D9EB0}"/>
          </ac:spMkLst>
        </pc:spChg>
      </pc:sldChg>
      <pc:sldChg chg="modSp ord">
        <pc:chgData name="Raimund Andrée" userId="0cf943988599aae0" providerId="LiveId" clId="{AA6A8786-E6E9-4500-8C5D-D3CF94DD6525}" dt="2019-09-18T12:36:55.396" v="379" actId="20577"/>
        <pc:sldMkLst>
          <pc:docMk/>
          <pc:sldMk cId="4102932612" sldId="1859"/>
        </pc:sldMkLst>
        <pc:spChg chg="mod">
          <ac:chgData name="Raimund Andrée" userId="0cf943988599aae0" providerId="LiveId" clId="{AA6A8786-E6E9-4500-8C5D-D3CF94DD6525}" dt="2019-09-18T12:36:55.396" v="379" actId="20577"/>
          <ac:spMkLst>
            <pc:docMk/>
            <pc:sldMk cId="4102932612" sldId="1859"/>
            <ac:spMk id="2" creationId="{F96DB570-38DB-49D3-9D3D-DD0CB0BAE18B}"/>
          </ac:spMkLst>
        </pc:spChg>
        <pc:spChg chg="mod">
          <ac:chgData name="Raimund Andrée" userId="0cf943988599aae0" providerId="LiveId" clId="{AA6A8786-E6E9-4500-8C5D-D3CF94DD6525}" dt="2019-09-18T12:36:53.336" v="377"/>
          <ac:spMkLst>
            <pc:docMk/>
            <pc:sldMk cId="4102932612" sldId="1859"/>
            <ac:spMk id="3" creationId="{104957BD-A3C5-4968-A58A-C82B2EB6B539}"/>
          </ac:spMkLst>
        </pc:spChg>
      </pc:sldChg>
      <pc:sldChg chg="del ord">
        <pc:chgData name="Raimund Andrée" userId="0cf943988599aae0" providerId="LiveId" clId="{AA6A8786-E6E9-4500-8C5D-D3CF94DD6525}" dt="2019-09-18T12:38:46.897" v="380" actId="2696"/>
        <pc:sldMkLst>
          <pc:docMk/>
          <pc:sldMk cId="1033358458" sldId="1860"/>
        </pc:sldMkLst>
      </pc:sldChg>
      <pc:sldChg chg="addSp delSp modSp ord">
        <pc:chgData name="Raimund Andrée" userId="0cf943988599aae0" providerId="LiveId" clId="{AA6A8786-E6E9-4500-8C5D-D3CF94DD6525}" dt="2019-09-18T12:41:25.671" v="421"/>
        <pc:sldMkLst>
          <pc:docMk/>
          <pc:sldMk cId="1238539000" sldId="1861"/>
        </pc:sldMkLst>
        <pc:spChg chg="mod">
          <ac:chgData name="Raimund Andrée" userId="0cf943988599aae0" providerId="LiveId" clId="{AA6A8786-E6E9-4500-8C5D-D3CF94DD6525}" dt="2019-09-18T12:41:10.947" v="407" actId="20577"/>
          <ac:spMkLst>
            <pc:docMk/>
            <pc:sldMk cId="1238539000" sldId="1861"/>
            <ac:spMk id="2" creationId="{E931C568-D792-4146-B381-0A2908BCBF7D}"/>
          </ac:spMkLst>
        </pc:spChg>
        <pc:spChg chg="del">
          <ac:chgData name="Raimund Andrée" userId="0cf943988599aae0" providerId="LiveId" clId="{AA6A8786-E6E9-4500-8C5D-D3CF94DD6525}" dt="2019-09-18T12:41:12.794" v="408" actId="478"/>
          <ac:spMkLst>
            <pc:docMk/>
            <pc:sldMk cId="1238539000" sldId="1861"/>
            <ac:spMk id="3" creationId="{769E5104-BA7E-47A0-8D17-C7A984B58D4A}"/>
          </ac:spMkLst>
        </pc:spChg>
        <pc:spChg chg="add del mod">
          <ac:chgData name="Raimund Andrée" userId="0cf943988599aae0" providerId="LiveId" clId="{AA6A8786-E6E9-4500-8C5D-D3CF94DD6525}" dt="2019-09-18T12:41:25.671" v="421"/>
          <ac:spMkLst>
            <pc:docMk/>
            <pc:sldMk cId="1238539000" sldId="1861"/>
            <ac:spMk id="5" creationId="{EBCD6F05-064F-4666-8317-063C76EF3477}"/>
          </ac:spMkLst>
        </pc:spChg>
      </pc:sldChg>
      <pc:sldChg chg="addSp delSp modSp ord">
        <pc:chgData name="Raimund Andrée" userId="0cf943988599aae0" providerId="LiveId" clId="{AA6A8786-E6E9-4500-8C5D-D3CF94DD6525}" dt="2019-09-18T12:46:33.990" v="500" actId="478"/>
        <pc:sldMkLst>
          <pc:docMk/>
          <pc:sldMk cId="162340734" sldId="1862"/>
        </pc:sldMkLst>
        <pc:spChg chg="mod">
          <ac:chgData name="Raimund Andrée" userId="0cf943988599aae0" providerId="LiveId" clId="{AA6A8786-E6E9-4500-8C5D-D3CF94DD6525}" dt="2019-09-18T12:46:26.964" v="498" actId="20577"/>
          <ac:spMkLst>
            <pc:docMk/>
            <pc:sldMk cId="162340734" sldId="1862"/>
            <ac:spMk id="3" creationId="{B9058370-A283-4A13-97F5-B1BB04302FDF}"/>
          </ac:spMkLst>
        </pc:spChg>
        <pc:spChg chg="add del mod">
          <ac:chgData name="Raimund Andrée" userId="0cf943988599aae0" providerId="LiveId" clId="{AA6A8786-E6E9-4500-8C5D-D3CF94DD6525}" dt="2019-09-18T12:46:33.990" v="500" actId="478"/>
          <ac:spMkLst>
            <pc:docMk/>
            <pc:sldMk cId="162340734" sldId="1862"/>
            <ac:spMk id="4" creationId="{8ECF4FFE-BABD-425A-83BB-9C7A88F4728A}"/>
          </ac:spMkLst>
        </pc:spChg>
        <pc:spChg chg="del">
          <ac:chgData name="Raimund Andrée" userId="0cf943988599aae0" providerId="LiveId" clId="{AA6A8786-E6E9-4500-8C5D-D3CF94DD6525}" dt="2019-09-18T12:46:31.933" v="499" actId="478"/>
          <ac:spMkLst>
            <pc:docMk/>
            <pc:sldMk cId="162340734" sldId="1862"/>
            <ac:spMk id="5" creationId="{4EFFEEAB-5762-4CB4-817F-16FC31D78A20}"/>
          </ac:spMkLst>
        </pc:spChg>
      </pc:sldChg>
      <pc:sldChg chg="add del">
        <pc:chgData name="Raimund Andrée" userId="0cf943988599aae0" providerId="LiveId" clId="{AA6A8786-E6E9-4500-8C5D-D3CF94DD6525}" dt="2019-09-18T12:27:20.183" v="53"/>
        <pc:sldMkLst>
          <pc:docMk/>
          <pc:sldMk cId="1837648695" sldId="1863"/>
        </pc:sldMkLst>
      </pc:sldChg>
      <pc:sldChg chg="modSp add del ord">
        <pc:chgData name="Raimund Andrée" userId="0cf943988599aae0" providerId="LiveId" clId="{AA6A8786-E6E9-4500-8C5D-D3CF94DD6525}" dt="2019-09-18T12:41:34.045" v="422" actId="2696"/>
        <pc:sldMkLst>
          <pc:docMk/>
          <pc:sldMk cId="2840071655" sldId="1863"/>
        </pc:sldMkLst>
        <pc:spChg chg="mod">
          <ac:chgData name="Raimund Andrée" userId="0cf943988599aae0" providerId="LiveId" clId="{AA6A8786-E6E9-4500-8C5D-D3CF94DD6525}" dt="2019-09-18T12:28:08.325" v="74" actId="20577"/>
          <ac:spMkLst>
            <pc:docMk/>
            <pc:sldMk cId="2840071655" sldId="1863"/>
            <ac:spMk id="2" creationId="{3C8B5F5C-F1A3-4D60-BB5B-595B2C7C58D8}"/>
          </ac:spMkLst>
        </pc:spChg>
      </pc:sldChg>
      <pc:sldChg chg="modSp ord">
        <pc:chgData name="Raimund Andrée" userId="0cf943988599aae0" providerId="LiveId" clId="{AA6A8786-E6E9-4500-8C5D-D3CF94DD6525}" dt="2019-09-18T12:26:06.489" v="50" actId="20577"/>
        <pc:sldMkLst>
          <pc:docMk/>
          <pc:sldMk cId="588787710" sldId="1864"/>
        </pc:sldMkLst>
        <pc:spChg chg="mod">
          <ac:chgData name="Raimund Andrée" userId="0cf943988599aae0" providerId="LiveId" clId="{AA6A8786-E6E9-4500-8C5D-D3CF94DD6525}" dt="2019-09-18T12:26:06.489" v="50" actId="20577"/>
          <ac:spMkLst>
            <pc:docMk/>
            <pc:sldMk cId="588787710" sldId="1864"/>
            <ac:spMk id="2" creationId="{59E38BBB-4601-49C6-971F-F4FF7A667122}"/>
          </ac:spMkLst>
        </pc:spChg>
      </pc:sldChg>
      <pc:sldChg chg="addSp delSp modSp ord">
        <pc:chgData name="Raimund Andrée" userId="0cf943988599aae0" providerId="LiveId" clId="{AA6A8786-E6E9-4500-8C5D-D3CF94DD6525}" dt="2019-09-18T12:30:51.134" v="263" actId="1076"/>
        <pc:sldMkLst>
          <pc:docMk/>
          <pc:sldMk cId="2466814432" sldId="1865"/>
        </pc:sldMkLst>
        <pc:spChg chg="mod">
          <ac:chgData name="Raimund Andrée" userId="0cf943988599aae0" providerId="LiveId" clId="{AA6A8786-E6E9-4500-8C5D-D3CF94DD6525}" dt="2019-09-18T12:30:10.130" v="173" actId="20577"/>
          <ac:spMkLst>
            <pc:docMk/>
            <pc:sldMk cId="2466814432" sldId="1865"/>
            <ac:spMk id="2" creationId="{D0F0BC6B-21A9-4774-A6F9-A5DDA985AD99}"/>
          </ac:spMkLst>
        </pc:spChg>
        <pc:spChg chg="del mod">
          <ac:chgData name="Raimund Andrée" userId="0cf943988599aae0" providerId="LiveId" clId="{AA6A8786-E6E9-4500-8C5D-D3CF94DD6525}" dt="2019-09-18T12:29:37.523" v="122" actId="478"/>
          <ac:spMkLst>
            <pc:docMk/>
            <pc:sldMk cId="2466814432" sldId="1865"/>
            <ac:spMk id="3" creationId="{3D016CAB-EFE7-4C92-9B4B-BAA9919600E6}"/>
          </ac:spMkLst>
        </pc:spChg>
        <pc:spChg chg="add mod">
          <ac:chgData name="Raimund Andrée" userId="0cf943988599aae0" providerId="LiveId" clId="{AA6A8786-E6E9-4500-8C5D-D3CF94DD6525}" dt="2019-09-18T12:30:42.038" v="262" actId="20577"/>
          <ac:spMkLst>
            <pc:docMk/>
            <pc:sldMk cId="2466814432" sldId="1865"/>
            <ac:spMk id="5" creationId="{D8B9C894-4439-45FC-8DB0-D94C08169FD1}"/>
          </ac:spMkLst>
        </pc:spChg>
        <pc:graphicFrameChg chg="add mod">
          <ac:chgData name="Raimund Andrée" userId="0cf943988599aae0" providerId="LiveId" clId="{AA6A8786-E6E9-4500-8C5D-D3CF94DD6525}" dt="2019-09-18T12:30:51.134" v="263" actId="1076"/>
          <ac:graphicFrameMkLst>
            <pc:docMk/>
            <pc:sldMk cId="2466814432" sldId="1865"/>
            <ac:graphicFrameMk id="4" creationId="{BFACABCE-4D92-4E6C-A62C-D121749B6336}"/>
          </ac:graphicFrameMkLst>
        </pc:graphicFrameChg>
      </pc:sldChg>
      <pc:sldChg chg="modSp ord">
        <pc:chgData name="Raimund Andrée" userId="0cf943988599aae0" providerId="LiveId" clId="{AA6A8786-E6E9-4500-8C5D-D3CF94DD6525}" dt="2019-09-18T12:35:40.914" v="333" actId="20577"/>
        <pc:sldMkLst>
          <pc:docMk/>
          <pc:sldMk cId="3653333126" sldId="1866"/>
        </pc:sldMkLst>
        <pc:spChg chg="mod">
          <ac:chgData name="Raimund Andrée" userId="0cf943988599aae0" providerId="LiveId" clId="{AA6A8786-E6E9-4500-8C5D-D3CF94DD6525}" dt="2019-09-18T12:32:42.880" v="310" actId="20577"/>
          <ac:spMkLst>
            <pc:docMk/>
            <pc:sldMk cId="3653333126" sldId="1866"/>
            <ac:spMk id="2" creationId="{D4211DE4-B398-46CB-B7FB-EF988E40ECF8}"/>
          </ac:spMkLst>
        </pc:spChg>
        <pc:spChg chg="mod">
          <ac:chgData name="Raimund Andrée" userId="0cf943988599aae0" providerId="LiveId" clId="{AA6A8786-E6E9-4500-8C5D-D3CF94DD6525}" dt="2019-09-18T12:35:40.914" v="333" actId="20577"/>
          <ac:spMkLst>
            <pc:docMk/>
            <pc:sldMk cId="3653333126" sldId="1866"/>
            <ac:spMk id="3" creationId="{EA4560D3-BB12-438F-87CA-4FE2F78C286F}"/>
          </ac:spMkLst>
        </pc:spChg>
      </pc:sldChg>
      <pc:sldChg chg="del ord">
        <pc:chgData name="Raimund Andrée" userId="0cf943988599aae0" providerId="LiveId" clId="{AA6A8786-E6E9-4500-8C5D-D3CF94DD6525}" dt="2019-09-18T12:41:47.833" v="423" actId="2696"/>
        <pc:sldMkLst>
          <pc:docMk/>
          <pc:sldMk cId="1560755751" sldId="1867"/>
        </pc:sldMkLst>
      </pc:sldChg>
      <pc:sldChg chg="addSp delSp modSp ord modAnim">
        <pc:chgData name="Raimund Andrée" userId="0cf943988599aae0" providerId="LiveId" clId="{AA6A8786-E6E9-4500-8C5D-D3CF94DD6525}" dt="2019-09-18T12:51:02.001" v="581" actId="478"/>
        <pc:sldMkLst>
          <pc:docMk/>
          <pc:sldMk cId="3761477550" sldId="1868"/>
        </pc:sldMkLst>
        <pc:spChg chg="del">
          <ac:chgData name="Raimund Andrée" userId="0cf943988599aae0" providerId="LiveId" clId="{AA6A8786-E6E9-4500-8C5D-D3CF94DD6525}" dt="2019-09-18T12:47:15.836" v="508" actId="478"/>
          <ac:spMkLst>
            <pc:docMk/>
            <pc:sldMk cId="3761477550" sldId="1868"/>
            <ac:spMk id="2" creationId="{7BC1A504-5E70-4E95-848F-06609BA779AB}"/>
          </ac:spMkLst>
        </pc:spChg>
        <pc:spChg chg="del">
          <ac:chgData name="Raimund Andrée" userId="0cf943988599aae0" providerId="LiveId" clId="{AA6A8786-E6E9-4500-8C5D-D3CF94DD6525}" dt="2019-09-18T12:47:15.836" v="508" actId="478"/>
          <ac:spMkLst>
            <pc:docMk/>
            <pc:sldMk cId="3761477550" sldId="1868"/>
            <ac:spMk id="5" creationId="{8E115987-EE70-465B-B84C-53629404EECE}"/>
          </ac:spMkLst>
        </pc:spChg>
        <pc:spChg chg="del">
          <ac:chgData name="Raimund Andrée" userId="0cf943988599aae0" providerId="LiveId" clId="{AA6A8786-E6E9-4500-8C5D-D3CF94DD6525}" dt="2019-09-18T12:47:15.836" v="508" actId="478"/>
          <ac:spMkLst>
            <pc:docMk/>
            <pc:sldMk cId="3761477550" sldId="1868"/>
            <ac:spMk id="6" creationId="{86606691-A274-408D-8783-48D30EFEC1D9}"/>
          </ac:spMkLst>
        </pc:spChg>
        <pc:spChg chg="add del mod">
          <ac:chgData name="Raimund Andrée" userId="0cf943988599aae0" providerId="LiveId" clId="{AA6A8786-E6E9-4500-8C5D-D3CF94DD6525}" dt="2019-09-18T12:48:36.357" v="510" actId="478"/>
          <ac:spMkLst>
            <pc:docMk/>
            <pc:sldMk cId="3761477550" sldId="1868"/>
            <ac:spMk id="7" creationId="{471BDA52-93DC-43F8-93E6-90768C85CAA0}"/>
          </ac:spMkLst>
        </pc:spChg>
        <pc:spChg chg="add">
          <ac:chgData name="Raimund Andrée" userId="0cf943988599aae0" providerId="LiveId" clId="{AA6A8786-E6E9-4500-8C5D-D3CF94DD6525}" dt="2019-09-18T12:48:29.633" v="509"/>
          <ac:spMkLst>
            <pc:docMk/>
            <pc:sldMk cId="3761477550" sldId="1868"/>
            <ac:spMk id="16" creationId="{AD821A8B-228F-45C4-8C22-429D183DED75}"/>
          </ac:spMkLst>
        </pc:spChg>
        <pc:picChg chg="del">
          <ac:chgData name="Raimund Andrée" userId="0cf943988599aae0" providerId="LiveId" clId="{AA6A8786-E6E9-4500-8C5D-D3CF94DD6525}" dt="2019-09-18T12:47:15.836" v="508" actId="478"/>
          <ac:picMkLst>
            <pc:docMk/>
            <pc:sldMk cId="3761477550" sldId="1868"/>
            <ac:picMk id="4" creationId="{351D2820-BCDA-487D-A65A-CF0CAA808060}"/>
          </ac:picMkLst>
        </pc:picChg>
        <pc:picChg chg="add">
          <ac:chgData name="Raimund Andrée" userId="0cf943988599aae0" providerId="LiveId" clId="{AA6A8786-E6E9-4500-8C5D-D3CF94DD6525}" dt="2019-09-18T12:48:29.633" v="509"/>
          <ac:picMkLst>
            <pc:docMk/>
            <pc:sldMk cId="3761477550" sldId="1868"/>
            <ac:picMk id="8" creationId="{6DD24551-31A1-46C7-9BE6-6539B658ED6E}"/>
          </ac:picMkLst>
        </pc:picChg>
        <pc:picChg chg="add">
          <ac:chgData name="Raimund Andrée" userId="0cf943988599aae0" providerId="LiveId" clId="{AA6A8786-E6E9-4500-8C5D-D3CF94DD6525}" dt="2019-09-18T12:48:29.633" v="509"/>
          <ac:picMkLst>
            <pc:docMk/>
            <pc:sldMk cId="3761477550" sldId="1868"/>
            <ac:picMk id="9" creationId="{75C0CD6C-DC45-4B77-BACB-01707731A44F}"/>
          </ac:picMkLst>
        </pc:picChg>
        <pc:picChg chg="add del">
          <ac:chgData name="Raimund Andrée" userId="0cf943988599aae0" providerId="LiveId" clId="{AA6A8786-E6E9-4500-8C5D-D3CF94DD6525}" dt="2019-09-18T12:51:01.216" v="579" actId="478"/>
          <ac:picMkLst>
            <pc:docMk/>
            <pc:sldMk cId="3761477550" sldId="1868"/>
            <ac:picMk id="11" creationId="{BBEF3712-DEC6-4AF3-90BD-F4D4F945900A}"/>
          </ac:picMkLst>
        </pc:picChg>
        <pc:picChg chg="add del">
          <ac:chgData name="Raimund Andrée" userId="0cf943988599aae0" providerId="LiveId" clId="{AA6A8786-E6E9-4500-8C5D-D3CF94DD6525}" dt="2019-09-18T12:50:59.955" v="577" actId="478"/>
          <ac:picMkLst>
            <pc:docMk/>
            <pc:sldMk cId="3761477550" sldId="1868"/>
            <ac:picMk id="14" creationId="{D1B0A3D0-AFED-41FB-9B6F-9D8AF49D220C}"/>
          </ac:picMkLst>
        </pc:picChg>
        <pc:cxnChg chg="add">
          <ac:chgData name="Raimund Andrée" userId="0cf943988599aae0" providerId="LiveId" clId="{AA6A8786-E6E9-4500-8C5D-D3CF94DD6525}" dt="2019-09-18T12:48:29.633" v="509"/>
          <ac:cxnSpMkLst>
            <pc:docMk/>
            <pc:sldMk cId="3761477550" sldId="1868"/>
            <ac:cxnSpMk id="10" creationId="{88AD1A05-B5BA-4AEC-8702-9862EEEACD94}"/>
          </ac:cxnSpMkLst>
        </pc:cxnChg>
        <pc:cxnChg chg="add del">
          <ac:chgData name="Raimund Andrée" userId="0cf943988599aae0" providerId="LiveId" clId="{AA6A8786-E6E9-4500-8C5D-D3CF94DD6525}" dt="2019-09-18T12:51:01.598" v="580" actId="478"/>
          <ac:cxnSpMkLst>
            <pc:docMk/>
            <pc:sldMk cId="3761477550" sldId="1868"/>
            <ac:cxnSpMk id="12" creationId="{52B3BACE-375E-4799-93AA-75D87CBEB21C}"/>
          </ac:cxnSpMkLst>
        </pc:cxnChg>
        <pc:cxnChg chg="add del">
          <ac:chgData name="Raimund Andrée" userId="0cf943988599aae0" providerId="LiveId" clId="{AA6A8786-E6E9-4500-8C5D-D3CF94DD6525}" dt="2019-09-18T12:51:02.001" v="581" actId="478"/>
          <ac:cxnSpMkLst>
            <pc:docMk/>
            <pc:sldMk cId="3761477550" sldId="1868"/>
            <ac:cxnSpMk id="13" creationId="{DA53CE2F-D9BB-4FC3-AFDB-ABD2A9F64652}"/>
          </ac:cxnSpMkLst>
        </pc:cxnChg>
        <pc:cxnChg chg="add del mod">
          <ac:chgData name="Raimund Andrée" userId="0cf943988599aae0" providerId="LiveId" clId="{AA6A8786-E6E9-4500-8C5D-D3CF94DD6525}" dt="2019-09-18T12:51:00.819" v="578" actId="478"/>
          <ac:cxnSpMkLst>
            <pc:docMk/>
            <pc:sldMk cId="3761477550" sldId="1868"/>
            <ac:cxnSpMk id="15" creationId="{FD0B1082-6FC0-47CC-BC48-1D588FF2AF02}"/>
          </ac:cxnSpMkLst>
        </pc:cxnChg>
      </pc:sldChg>
      <pc:sldChg chg="modSp ord">
        <pc:chgData name="Raimund Andrée" userId="0cf943988599aae0" providerId="LiveId" clId="{AA6A8786-E6E9-4500-8C5D-D3CF94DD6525}" dt="2019-09-18T12:47:07.345" v="507" actId="20577"/>
        <pc:sldMkLst>
          <pc:docMk/>
          <pc:sldMk cId="1752452480" sldId="1869"/>
        </pc:sldMkLst>
        <pc:spChg chg="mod">
          <ac:chgData name="Raimund Andrée" userId="0cf943988599aae0" providerId="LiveId" clId="{AA6A8786-E6E9-4500-8C5D-D3CF94DD6525}" dt="2019-09-18T12:47:00.651" v="505"/>
          <ac:spMkLst>
            <pc:docMk/>
            <pc:sldMk cId="1752452480" sldId="1869"/>
            <ac:spMk id="3" creationId="{0FE15E30-1BAC-4CC6-B79F-A3BCC908332D}"/>
          </ac:spMkLst>
        </pc:spChg>
        <pc:spChg chg="mod">
          <ac:chgData name="Raimund Andrée" userId="0cf943988599aae0" providerId="LiveId" clId="{AA6A8786-E6E9-4500-8C5D-D3CF94DD6525}" dt="2019-09-18T12:47:07.345" v="507" actId="20577"/>
          <ac:spMkLst>
            <pc:docMk/>
            <pc:sldMk cId="1752452480" sldId="1869"/>
            <ac:spMk id="4" creationId="{D46A23B2-177B-47F1-806C-E2FB2235E4B5}"/>
          </ac:spMkLst>
        </pc:spChg>
      </pc:sldChg>
      <pc:sldChg chg="modSp ord">
        <pc:chgData name="Raimund Andrée" userId="0cf943988599aae0" providerId="LiveId" clId="{AA6A8786-E6E9-4500-8C5D-D3CF94DD6525}" dt="2019-09-18T12:45:35.582" v="458" actId="20577"/>
        <pc:sldMkLst>
          <pc:docMk/>
          <pc:sldMk cId="3250009711" sldId="1870"/>
        </pc:sldMkLst>
        <pc:spChg chg="mod">
          <ac:chgData name="Raimund Andrée" userId="0cf943988599aae0" providerId="LiveId" clId="{AA6A8786-E6E9-4500-8C5D-D3CF94DD6525}" dt="2019-09-18T12:45:35.582" v="458" actId="20577"/>
          <ac:spMkLst>
            <pc:docMk/>
            <pc:sldMk cId="3250009711" sldId="1870"/>
            <ac:spMk id="2" creationId="{7AD48914-418F-4D0F-81B8-C2008CD9D1A5}"/>
          </ac:spMkLst>
        </pc:spChg>
        <pc:spChg chg="mod">
          <ac:chgData name="Raimund Andrée" userId="0cf943988599aae0" providerId="LiveId" clId="{AA6A8786-E6E9-4500-8C5D-D3CF94DD6525}" dt="2019-09-18T12:42:23.348" v="430" actId="6549"/>
          <ac:spMkLst>
            <pc:docMk/>
            <pc:sldMk cId="3250009711" sldId="1870"/>
            <ac:spMk id="3" creationId="{9CA20EE9-22D3-425C-A89C-9A35F20E0233}"/>
          </ac:spMkLst>
        </pc:spChg>
      </pc:sldChg>
      <pc:sldChg chg="addSp delSp modSp ord modAnim">
        <pc:chgData name="Raimund Andrée" userId="0cf943988599aae0" providerId="LiveId" clId="{AA6A8786-E6E9-4500-8C5D-D3CF94DD6525}" dt="2019-09-18T12:39:20.572" v="388" actId="20577"/>
        <pc:sldMkLst>
          <pc:docMk/>
          <pc:sldMk cId="340011927" sldId="1871"/>
        </pc:sldMkLst>
        <pc:spChg chg="mod">
          <ac:chgData name="Raimund Andrée" userId="0cf943988599aae0" providerId="LiveId" clId="{AA6A8786-E6E9-4500-8C5D-D3CF94DD6525}" dt="2019-09-18T12:39:20.572" v="388" actId="20577"/>
          <ac:spMkLst>
            <pc:docMk/>
            <pc:sldMk cId="340011927" sldId="1871"/>
            <ac:spMk id="2" creationId="{F15C7628-8681-41AE-8C70-56B128813C66}"/>
          </ac:spMkLst>
        </pc:spChg>
        <pc:spChg chg="del mod">
          <ac:chgData name="Raimund Andrée" userId="0cf943988599aae0" providerId="LiveId" clId="{AA6A8786-E6E9-4500-8C5D-D3CF94DD6525}" dt="2019-09-18T12:38:54.283" v="382" actId="478"/>
          <ac:spMkLst>
            <pc:docMk/>
            <pc:sldMk cId="340011927" sldId="1871"/>
            <ac:spMk id="3" creationId="{C81FC0CD-504D-4507-90B2-F52429F6D234}"/>
          </ac:spMkLst>
        </pc:spChg>
        <pc:spChg chg="add del mod">
          <ac:chgData name="Raimund Andrée" userId="0cf943988599aae0" providerId="LiveId" clId="{AA6A8786-E6E9-4500-8C5D-D3CF94DD6525}" dt="2019-09-18T12:39:00.768" v="385" actId="478"/>
          <ac:spMkLst>
            <pc:docMk/>
            <pc:sldMk cId="340011927" sldId="1871"/>
            <ac:spMk id="4" creationId="{5DD96177-CB24-4AC5-8BB3-A73CA0FA2DDC}"/>
          </ac:spMkLst>
        </pc:spChg>
        <pc:spChg chg="add">
          <ac:chgData name="Raimund Andrée" userId="0cf943988599aae0" providerId="LiveId" clId="{AA6A8786-E6E9-4500-8C5D-D3CF94DD6525}" dt="2019-09-18T12:38:54.730" v="383"/>
          <ac:spMkLst>
            <pc:docMk/>
            <pc:sldMk cId="340011927" sldId="1871"/>
            <ac:spMk id="5" creationId="{C553AE8C-4995-4C88-8D0B-FD5A8201C1BC}"/>
          </ac:spMkLst>
        </pc:spChg>
        <pc:spChg chg="add">
          <ac:chgData name="Raimund Andrée" userId="0cf943988599aae0" providerId="LiveId" clId="{AA6A8786-E6E9-4500-8C5D-D3CF94DD6525}" dt="2019-09-18T12:38:54.730" v="383"/>
          <ac:spMkLst>
            <pc:docMk/>
            <pc:sldMk cId="340011927" sldId="1871"/>
            <ac:spMk id="6" creationId="{0534CB01-06C3-4A0B-B3F6-0A204E6DF654}"/>
          </ac:spMkLst>
        </pc:spChg>
        <pc:spChg chg="add">
          <ac:chgData name="Raimund Andrée" userId="0cf943988599aae0" providerId="LiveId" clId="{AA6A8786-E6E9-4500-8C5D-D3CF94DD6525}" dt="2019-09-18T12:38:54.730" v="383"/>
          <ac:spMkLst>
            <pc:docMk/>
            <pc:sldMk cId="340011927" sldId="1871"/>
            <ac:spMk id="7" creationId="{D39C018C-4AEA-46AF-9A85-B3ABCFCAA822}"/>
          </ac:spMkLst>
        </pc:spChg>
        <pc:spChg chg="add">
          <ac:chgData name="Raimund Andrée" userId="0cf943988599aae0" providerId="LiveId" clId="{AA6A8786-E6E9-4500-8C5D-D3CF94DD6525}" dt="2019-09-18T12:38:54.730" v="383"/>
          <ac:spMkLst>
            <pc:docMk/>
            <pc:sldMk cId="340011927" sldId="1871"/>
            <ac:spMk id="8" creationId="{8BBAA060-C276-4FDD-B08B-1BFF455FB2DD}"/>
          </ac:spMkLst>
        </pc:spChg>
        <pc:spChg chg="add">
          <ac:chgData name="Raimund Andrée" userId="0cf943988599aae0" providerId="LiveId" clId="{AA6A8786-E6E9-4500-8C5D-D3CF94DD6525}" dt="2019-09-18T12:38:54.730" v="383"/>
          <ac:spMkLst>
            <pc:docMk/>
            <pc:sldMk cId="340011927" sldId="1871"/>
            <ac:spMk id="9" creationId="{38BCB2BB-3A15-416B-89BF-A457A42E15E5}"/>
          </ac:spMkLst>
        </pc:spChg>
        <pc:spChg chg="add">
          <ac:chgData name="Raimund Andrée" userId="0cf943988599aae0" providerId="LiveId" clId="{AA6A8786-E6E9-4500-8C5D-D3CF94DD6525}" dt="2019-09-18T12:38:54.730" v="383"/>
          <ac:spMkLst>
            <pc:docMk/>
            <pc:sldMk cId="340011927" sldId="1871"/>
            <ac:spMk id="10" creationId="{691ED13B-6614-4A42-A764-B3126BC0DAE0}"/>
          </ac:spMkLst>
        </pc:spChg>
        <pc:spChg chg="add">
          <ac:chgData name="Raimund Andrée" userId="0cf943988599aae0" providerId="LiveId" clId="{AA6A8786-E6E9-4500-8C5D-D3CF94DD6525}" dt="2019-09-18T12:38:54.730" v="383"/>
          <ac:spMkLst>
            <pc:docMk/>
            <pc:sldMk cId="340011927" sldId="1871"/>
            <ac:spMk id="11" creationId="{08C20D42-1D57-4D94-84EF-D4DCDCF4467A}"/>
          </ac:spMkLst>
        </pc:spChg>
        <pc:spChg chg="add">
          <ac:chgData name="Raimund Andrée" userId="0cf943988599aae0" providerId="LiveId" clId="{AA6A8786-E6E9-4500-8C5D-D3CF94DD6525}" dt="2019-09-18T12:38:54.730" v="383"/>
          <ac:spMkLst>
            <pc:docMk/>
            <pc:sldMk cId="340011927" sldId="1871"/>
            <ac:spMk id="12" creationId="{452C6BEB-5150-40F6-9A48-ACB2F94D92BE}"/>
          </ac:spMkLst>
        </pc:spChg>
        <pc:spChg chg="add">
          <ac:chgData name="Raimund Andrée" userId="0cf943988599aae0" providerId="LiveId" clId="{AA6A8786-E6E9-4500-8C5D-D3CF94DD6525}" dt="2019-09-18T12:38:54.730" v="383"/>
          <ac:spMkLst>
            <pc:docMk/>
            <pc:sldMk cId="340011927" sldId="1871"/>
            <ac:spMk id="13" creationId="{A316332F-316B-44DD-84E4-BDF0B2FEFEFB}"/>
          </ac:spMkLst>
        </pc:spChg>
        <pc:picChg chg="add">
          <ac:chgData name="Raimund Andrée" userId="0cf943988599aae0" providerId="LiveId" clId="{AA6A8786-E6E9-4500-8C5D-D3CF94DD6525}" dt="2019-09-18T12:38:54.730" v="383"/>
          <ac:picMkLst>
            <pc:docMk/>
            <pc:sldMk cId="340011927" sldId="1871"/>
            <ac:picMk id="14" creationId="{CBA14111-59FA-4AE0-9522-42A73811B9E2}"/>
          </ac:picMkLst>
        </pc:picChg>
        <pc:picChg chg="add">
          <ac:chgData name="Raimund Andrée" userId="0cf943988599aae0" providerId="LiveId" clId="{AA6A8786-E6E9-4500-8C5D-D3CF94DD6525}" dt="2019-09-18T12:38:54.730" v="383"/>
          <ac:picMkLst>
            <pc:docMk/>
            <pc:sldMk cId="340011927" sldId="1871"/>
            <ac:picMk id="15" creationId="{81EE308F-1D66-44BD-96C7-A40B26F465D5}"/>
          </ac:picMkLst>
        </pc:picChg>
        <pc:picChg chg="add">
          <ac:chgData name="Raimund Andrée" userId="0cf943988599aae0" providerId="LiveId" clId="{AA6A8786-E6E9-4500-8C5D-D3CF94DD6525}" dt="2019-09-18T12:38:54.730" v="383"/>
          <ac:picMkLst>
            <pc:docMk/>
            <pc:sldMk cId="340011927" sldId="1871"/>
            <ac:picMk id="16" creationId="{5BF3B0BF-BB88-4FB6-ACD7-7EF647D3E552}"/>
          </ac:picMkLst>
        </pc:picChg>
        <pc:picChg chg="add">
          <ac:chgData name="Raimund Andrée" userId="0cf943988599aae0" providerId="LiveId" clId="{AA6A8786-E6E9-4500-8C5D-D3CF94DD6525}" dt="2019-09-18T12:38:54.730" v="383"/>
          <ac:picMkLst>
            <pc:docMk/>
            <pc:sldMk cId="340011927" sldId="1871"/>
            <ac:picMk id="17" creationId="{667E0966-FA56-471F-9BB4-1A877C7E78BD}"/>
          </ac:picMkLst>
        </pc:picChg>
        <pc:picChg chg="add">
          <ac:chgData name="Raimund Andrée" userId="0cf943988599aae0" providerId="LiveId" clId="{AA6A8786-E6E9-4500-8C5D-D3CF94DD6525}" dt="2019-09-18T12:38:54.730" v="383"/>
          <ac:picMkLst>
            <pc:docMk/>
            <pc:sldMk cId="340011927" sldId="1871"/>
            <ac:picMk id="18" creationId="{97C5ECE7-892D-4180-A66C-2273E0CB0BFF}"/>
          </ac:picMkLst>
        </pc:picChg>
        <pc:picChg chg="add">
          <ac:chgData name="Raimund Andrée" userId="0cf943988599aae0" providerId="LiveId" clId="{AA6A8786-E6E9-4500-8C5D-D3CF94DD6525}" dt="2019-09-18T12:38:54.730" v="383"/>
          <ac:picMkLst>
            <pc:docMk/>
            <pc:sldMk cId="340011927" sldId="1871"/>
            <ac:picMk id="19" creationId="{43318DFC-9503-46CE-B5B2-841218FE6DE9}"/>
          </ac:picMkLst>
        </pc:picChg>
        <pc:picChg chg="add">
          <ac:chgData name="Raimund Andrée" userId="0cf943988599aae0" providerId="LiveId" clId="{AA6A8786-E6E9-4500-8C5D-D3CF94DD6525}" dt="2019-09-18T12:38:54.730" v="383"/>
          <ac:picMkLst>
            <pc:docMk/>
            <pc:sldMk cId="340011927" sldId="1871"/>
            <ac:picMk id="20" creationId="{E93CBACB-92B7-46B0-9485-11E240D22615}"/>
          </ac:picMkLst>
        </pc:picChg>
      </pc:sldChg>
      <pc:sldChg chg="addSp delSp modSp add del modTransition">
        <pc:chgData name="Raimund Andrée" userId="0cf943988599aae0" providerId="LiveId" clId="{AA6A8786-E6E9-4500-8C5D-D3CF94DD6525}" dt="2019-09-18T12:25:35.910" v="44" actId="478"/>
        <pc:sldMkLst>
          <pc:docMk/>
          <pc:sldMk cId="2941554335" sldId="2140"/>
        </pc:sldMkLst>
        <pc:spChg chg="add del mod">
          <ac:chgData name="Raimund Andrée" userId="0cf943988599aae0" providerId="LiveId" clId="{AA6A8786-E6E9-4500-8C5D-D3CF94DD6525}" dt="2019-09-18T12:25:35.910" v="44" actId="478"/>
          <ac:spMkLst>
            <pc:docMk/>
            <pc:sldMk cId="2941554335" sldId="2140"/>
            <ac:spMk id="5" creationId="{4E0B33AD-A720-4070-8001-1949C0C04326}"/>
          </ac:spMkLst>
        </pc:spChg>
        <pc:spChg chg="del">
          <ac:chgData name="Raimund Andrée" userId="0cf943988599aae0" providerId="LiveId" clId="{AA6A8786-E6E9-4500-8C5D-D3CF94DD6525}" dt="2019-09-18T12:25:08.395" v="17" actId="478"/>
          <ac:spMkLst>
            <pc:docMk/>
            <pc:sldMk cId="2941554335" sldId="2140"/>
            <ac:spMk id="39" creationId="{00000000-0000-0000-0000-000000000000}"/>
          </ac:spMkLst>
        </pc:spChg>
        <pc:spChg chg="mod">
          <ac:chgData name="Raimund Andrée" userId="0cf943988599aae0" providerId="LiveId" clId="{AA6A8786-E6E9-4500-8C5D-D3CF94DD6525}" dt="2019-09-18T12:25:21.059" v="41" actId="1035"/>
          <ac:spMkLst>
            <pc:docMk/>
            <pc:sldMk cId="2941554335" sldId="2140"/>
            <ac:spMk id="49" creationId="{00000000-0000-0000-0000-000000000000}"/>
          </ac:spMkLst>
        </pc:spChg>
        <pc:spChg chg="mod">
          <ac:chgData name="Raimund Andrée" userId="0cf943988599aae0" providerId="LiveId" clId="{AA6A8786-E6E9-4500-8C5D-D3CF94DD6525}" dt="2019-09-18T12:25:21.059" v="41" actId="1035"/>
          <ac:spMkLst>
            <pc:docMk/>
            <pc:sldMk cId="2941554335" sldId="2140"/>
            <ac:spMk id="71" creationId="{00000000-0000-0000-0000-000000000000}"/>
          </ac:spMkLst>
        </pc:spChg>
        <pc:spChg chg="mod">
          <ac:chgData name="Raimund Andrée" userId="0cf943988599aae0" providerId="LiveId" clId="{AA6A8786-E6E9-4500-8C5D-D3CF94DD6525}" dt="2019-09-18T12:25:21.059" v="41" actId="1035"/>
          <ac:spMkLst>
            <pc:docMk/>
            <pc:sldMk cId="2941554335" sldId="2140"/>
            <ac:spMk id="73" creationId="{00000000-0000-0000-0000-000000000000}"/>
          </ac:spMkLst>
        </pc:spChg>
        <pc:spChg chg="mod">
          <ac:chgData name="Raimund Andrée" userId="0cf943988599aae0" providerId="LiveId" clId="{AA6A8786-E6E9-4500-8C5D-D3CF94DD6525}" dt="2019-09-18T12:25:21.059" v="41" actId="1035"/>
          <ac:spMkLst>
            <pc:docMk/>
            <pc:sldMk cId="2941554335" sldId="2140"/>
            <ac:spMk id="74" creationId="{00000000-0000-0000-0000-000000000000}"/>
          </ac:spMkLst>
        </pc:spChg>
        <pc:spChg chg="mod">
          <ac:chgData name="Raimund Andrée" userId="0cf943988599aae0" providerId="LiveId" clId="{AA6A8786-E6E9-4500-8C5D-D3CF94DD6525}" dt="2019-09-18T12:25:21.059" v="41" actId="1035"/>
          <ac:spMkLst>
            <pc:docMk/>
            <pc:sldMk cId="2941554335" sldId="2140"/>
            <ac:spMk id="75" creationId="{00000000-0000-0000-0000-000000000000}"/>
          </ac:spMkLst>
        </pc:spChg>
        <pc:spChg chg="mod">
          <ac:chgData name="Raimund Andrée" userId="0cf943988599aae0" providerId="LiveId" clId="{AA6A8786-E6E9-4500-8C5D-D3CF94DD6525}" dt="2019-09-18T12:25:21.059" v="41" actId="1035"/>
          <ac:spMkLst>
            <pc:docMk/>
            <pc:sldMk cId="2941554335" sldId="2140"/>
            <ac:spMk id="76" creationId="{00000000-0000-0000-0000-000000000000}"/>
          </ac:spMkLst>
        </pc:spChg>
        <pc:grpChg chg="mod">
          <ac:chgData name="Raimund Andrée" userId="0cf943988599aae0" providerId="LiveId" clId="{AA6A8786-E6E9-4500-8C5D-D3CF94DD6525}" dt="2019-09-18T12:25:21.059" v="41" actId="1035"/>
          <ac:grpSpMkLst>
            <pc:docMk/>
            <pc:sldMk cId="2941554335" sldId="2140"/>
            <ac:grpSpMk id="46" creationId="{00000000-0000-0000-0000-000000000000}"/>
          </ac:grpSpMkLst>
        </pc:grpChg>
        <pc:picChg chg="add del">
          <ac:chgData name="Raimund Andrée" userId="0cf943988599aae0" providerId="LiveId" clId="{AA6A8786-E6E9-4500-8C5D-D3CF94DD6525}" dt="2019-09-18T12:24:34.051" v="15" actId="478"/>
          <ac:picMkLst>
            <pc:docMk/>
            <pc:sldMk cId="2941554335" sldId="2140"/>
            <ac:picMk id="3" creationId="{0A7995EE-0D36-4EC6-BF5E-4326AD481EA1}"/>
          </ac:picMkLst>
        </pc:picChg>
        <pc:picChg chg="mod">
          <ac:chgData name="Raimund Andrée" userId="0cf943988599aae0" providerId="LiveId" clId="{AA6A8786-E6E9-4500-8C5D-D3CF94DD6525}" dt="2019-09-18T12:25:21.059" v="41" actId="1035"/>
          <ac:picMkLst>
            <pc:docMk/>
            <pc:sldMk cId="2941554335" sldId="2140"/>
            <ac:picMk id="45" creationId="{00000000-0000-0000-0000-000000000000}"/>
          </ac:picMkLst>
        </pc:picChg>
      </pc:sldChg>
      <pc:sldChg chg="add del">
        <pc:chgData name="Raimund Andrée" userId="0cf943988599aae0" providerId="LiveId" clId="{AA6A8786-E6E9-4500-8C5D-D3CF94DD6525}" dt="2019-09-18T12:24:26.947" v="13" actId="2696"/>
        <pc:sldMkLst>
          <pc:docMk/>
          <pc:sldMk cId="2790504983" sldId="2141"/>
        </pc:sldMkLst>
      </pc:sldChg>
      <pc:sldChg chg="modSp add">
        <pc:chgData name="Raimund Andrée" userId="0cf943988599aae0" providerId="LiveId" clId="{AA6A8786-E6E9-4500-8C5D-D3CF94DD6525}" dt="2019-09-18T12:31:53.207" v="279"/>
        <pc:sldMkLst>
          <pc:docMk/>
          <pc:sldMk cId="3752681306" sldId="2141"/>
        </pc:sldMkLst>
        <pc:spChg chg="mod">
          <ac:chgData name="Raimund Andrée" userId="0cf943988599aae0" providerId="LiveId" clId="{AA6A8786-E6E9-4500-8C5D-D3CF94DD6525}" dt="2019-09-18T12:31:48.376" v="278"/>
          <ac:spMkLst>
            <pc:docMk/>
            <pc:sldMk cId="3752681306" sldId="2141"/>
            <ac:spMk id="2" creationId="{D0F0BC6B-21A9-4774-A6F9-A5DDA985AD99}"/>
          </ac:spMkLst>
        </pc:spChg>
        <pc:spChg chg="mod">
          <ac:chgData name="Raimund Andrée" userId="0cf943988599aae0" providerId="LiveId" clId="{AA6A8786-E6E9-4500-8C5D-D3CF94DD6525}" dt="2019-09-18T12:31:53.207" v="279"/>
          <ac:spMkLst>
            <pc:docMk/>
            <pc:sldMk cId="3752681306" sldId="2141"/>
            <ac:spMk id="3" creationId="{3D016CAB-EFE7-4C92-9B4B-BAA9919600E6}"/>
          </ac:spMkLst>
        </pc:spChg>
      </pc:sldChg>
      <pc:sldChg chg="addSp delSp modSp add modAnim">
        <pc:chgData name="Raimund Andrée" userId="0cf943988599aae0" providerId="LiveId" clId="{AA6A8786-E6E9-4500-8C5D-D3CF94DD6525}" dt="2019-09-18T12:40:42.237" v="393"/>
        <pc:sldMkLst>
          <pc:docMk/>
          <pc:sldMk cId="525825594" sldId="2142"/>
        </pc:sldMkLst>
        <pc:spChg chg="mod">
          <ac:chgData name="Raimund Andrée" userId="0cf943988599aae0" providerId="LiveId" clId="{AA6A8786-E6E9-4500-8C5D-D3CF94DD6525}" dt="2019-09-18T12:40:42.237" v="393"/>
          <ac:spMkLst>
            <pc:docMk/>
            <pc:sldMk cId="525825594" sldId="2142"/>
            <ac:spMk id="2" creationId="{A911EEB6-38AB-44CA-859B-7567E3776582}"/>
          </ac:spMkLst>
        </pc:spChg>
        <pc:spChg chg="del">
          <ac:chgData name="Raimund Andrée" userId="0cf943988599aae0" providerId="LiveId" clId="{AA6A8786-E6E9-4500-8C5D-D3CF94DD6525}" dt="2019-09-18T12:40:11.073" v="390" actId="478"/>
          <ac:spMkLst>
            <pc:docMk/>
            <pc:sldMk cId="525825594" sldId="2142"/>
            <ac:spMk id="3" creationId="{80040F65-FB77-4A15-AD9E-6A31970770DB}"/>
          </ac:spMkLst>
        </pc:spChg>
        <pc:spChg chg="add del">
          <ac:chgData name="Raimund Andrée" userId="0cf943988599aae0" providerId="LiveId" clId="{AA6A8786-E6E9-4500-8C5D-D3CF94DD6525}" dt="2019-09-18T12:40:41.212" v="392" actId="478"/>
          <ac:spMkLst>
            <pc:docMk/>
            <pc:sldMk cId="525825594" sldId="2142"/>
            <ac:spMk id="32" creationId="{03674FFA-9425-432F-A46F-2A28D9AFB0CE}"/>
          </ac:spMkLst>
        </pc:spChg>
        <pc:spChg chg="add">
          <ac:chgData name="Raimund Andrée" userId="0cf943988599aae0" providerId="LiveId" clId="{AA6A8786-E6E9-4500-8C5D-D3CF94DD6525}" dt="2019-09-18T12:40:11.633" v="391"/>
          <ac:spMkLst>
            <pc:docMk/>
            <pc:sldMk cId="525825594" sldId="2142"/>
            <ac:spMk id="43" creationId="{ACB15488-3521-44A9-8D49-F2B6FFE533BF}"/>
          </ac:spMkLst>
        </pc:spChg>
        <pc:grpChg chg="add">
          <ac:chgData name="Raimund Andrée" userId="0cf943988599aae0" providerId="LiveId" clId="{AA6A8786-E6E9-4500-8C5D-D3CF94DD6525}" dt="2019-09-18T12:40:11.633" v="391"/>
          <ac:grpSpMkLst>
            <pc:docMk/>
            <pc:sldMk cId="525825594" sldId="2142"/>
            <ac:grpSpMk id="4" creationId="{37A156B4-A42E-4B19-BA01-1DB28ECB0F98}"/>
          </ac:grpSpMkLst>
        </pc:grpChg>
        <pc:grpChg chg="add">
          <ac:chgData name="Raimund Andrée" userId="0cf943988599aae0" providerId="LiveId" clId="{AA6A8786-E6E9-4500-8C5D-D3CF94DD6525}" dt="2019-09-18T12:40:11.633" v="391"/>
          <ac:grpSpMkLst>
            <pc:docMk/>
            <pc:sldMk cId="525825594" sldId="2142"/>
            <ac:grpSpMk id="12" creationId="{D1B7DE9C-3385-4454-A32D-4407ED4A8930}"/>
          </ac:grpSpMkLst>
        </pc:grpChg>
        <pc:grpChg chg="add">
          <ac:chgData name="Raimund Andrée" userId="0cf943988599aae0" providerId="LiveId" clId="{AA6A8786-E6E9-4500-8C5D-D3CF94DD6525}" dt="2019-09-18T12:40:11.633" v="391"/>
          <ac:grpSpMkLst>
            <pc:docMk/>
            <pc:sldMk cId="525825594" sldId="2142"/>
            <ac:grpSpMk id="21" creationId="{448CD760-7401-4F48-9AAF-B92C98C76B3B}"/>
          </ac:grpSpMkLst>
        </pc:grpChg>
        <pc:grpChg chg="add">
          <ac:chgData name="Raimund Andrée" userId="0cf943988599aae0" providerId="LiveId" clId="{AA6A8786-E6E9-4500-8C5D-D3CF94DD6525}" dt="2019-09-18T12:40:11.633" v="391"/>
          <ac:grpSpMkLst>
            <pc:docMk/>
            <pc:sldMk cId="525825594" sldId="2142"/>
            <ac:grpSpMk id="34" creationId="{544DA981-7B06-42D7-BFE1-DC473867E45A}"/>
          </ac:grpSpMkLst>
        </pc:grpChg>
        <pc:grpChg chg="add">
          <ac:chgData name="Raimund Andrée" userId="0cf943988599aae0" providerId="LiveId" clId="{AA6A8786-E6E9-4500-8C5D-D3CF94DD6525}" dt="2019-09-18T12:40:11.633" v="391"/>
          <ac:grpSpMkLst>
            <pc:docMk/>
            <pc:sldMk cId="525825594" sldId="2142"/>
            <ac:grpSpMk id="44" creationId="{3FA4198F-856D-4A8D-9578-3FD2C785EB41}"/>
          </ac:grpSpMkLst>
        </pc:grpChg>
        <pc:cxnChg chg="add">
          <ac:chgData name="Raimund Andrée" userId="0cf943988599aae0" providerId="LiveId" clId="{AA6A8786-E6E9-4500-8C5D-D3CF94DD6525}" dt="2019-09-18T12:40:11.633" v="391"/>
          <ac:cxnSpMkLst>
            <pc:docMk/>
            <pc:sldMk cId="525825594" sldId="2142"/>
            <ac:cxnSpMk id="31" creationId="{3DE67EE8-511D-499D-8707-9BBF496A4339}"/>
          </ac:cxnSpMkLst>
        </pc:cxnChg>
        <pc:cxnChg chg="add">
          <ac:chgData name="Raimund Andrée" userId="0cf943988599aae0" providerId="LiveId" clId="{AA6A8786-E6E9-4500-8C5D-D3CF94DD6525}" dt="2019-09-18T12:40:11.633" v="391"/>
          <ac:cxnSpMkLst>
            <pc:docMk/>
            <pc:sldMk cId="525825594" sldId="2142"/>
            <ac:cxnSpMk id="33" creationId="{414B64B0-6B15-4F91-B5AE-88998FCF51A2}"/>
          </ac:cxnSpMkLst>
        </pc:cxnChg>
        <pc:cxnChg chg="add">
          <ac:chgData name="Raimund Andrée" userId="0cf943988599aae0" providerId="LiveId" clId="{AA6A8786-E6E9-4500-8C5D-D3CF94DD6525}" dt="2019-09-18T12:40:11.633" v="391"/>
          <ac:cxnSpMkLst>
            <pc:docMk/>
            <pc:sldMk cId="525825594" sldId="2142"/>
            <ac:cxnSpMk id="42" creationId="{59C25F48-BE46-494E-96BE-99BCB83BD72A}"/>
          </ac:cxnSpMkLst>
        </pc:cxnChg>
      </pc:sldChg>
      <pc:sldChg chg="addSp delSp modSp add delAnim modAnim">
        <pc:chgData name="Raimund Andrée" userId="0cf943988599aae0" providerId="LiveId" clId="{AA6A8786-E6E9-4500-8C5D-D3CF94DD6525}" dt="2019-09-18T12:53:06.088" v="601"/>
        <pc:sldMkLst>
          <pc:docMk/>
          <pc:sldMk cId="4083750556" sldId="2143"/>
        </pc:sldMkLst>
        <pc:spChg chg="del">
          <ac:chgData name="Raimund Andrée" userId="0cf943988599aae0" providerId="LiveId" clId="{AA6A8786-E6E9-4500-8C5D-D3CF94DD6525}" dt="2019-09-18T12:52:54.318" v="600" actId="478"/>
          <ac:spMkLst>
            <pc:docMk/>
            <pc:sldMk cId="4083750556" sldId="2143"/>
            <ac:spMk id="2" creationId="{6B0DC618-F70F-4BE4-BAB3-224E9A8120A5}"/>
          </ac:spMkLst>
        </pc:spChg>
        <pc:spChg chg="del">
          <ac:chgData name="Raimund Andrée" userId="0cf943988599aae0" providerId="LiveId" clId="{AA6A8786-E6E9-4500-8C5D-D3CF94DD6525}" dt="2019-09-18T12:51:10.088" v="583" actId="478"/>
          <ac:spMkLst>
            <pc:docMk/>
            <pc:sldMk cId="4083750556" sldId="2143"/>
            <ac:spMk id="3" creationId="{17EB9576-BF96-4334-A0D4-34294ABA6865}"/>
          </ac:spMkLst>
        </pc:spChg>
        <pc:spChg chg="add del">
          <ac:chgData name="Raimund Andrée" userId="0cf943988599aae0" providerId="LiveId" clId="{AA6A8786-E6E9-4500-8C5D-D3CF94DD6525}" dt="2019-09-18T12:52:52.802" v="599" actId="478"/>
          <ac:spMkLst>
            <pc:docMk/>
            <pc:sldMk cId="4083750556" sldId="2143"/>
            <ac:spMk id="12" creationId="{F45F1BB0-1167-4747-A9D7-16A36A3F7608}"/>
          </ac:spMkLst>
        </pc:spChg>
        <pc:spChg chg="add del mod">
          <ac:chgData name="Raimund Andrée" userId="0cf943988599aae0" providerId="LiveId" clId="{AA6A8786-E6E9-4500-8C5D-D3CF94DD6525}" dt="2019-09-18T12:52:23.210" v="596" actId="14100"/>
          <ac:spMkLst>
            <pc:docMk/>
            <pc:sldMk cId="4083750556" sldId="2143"/>
            <ac:spMk id="13" creationId="{91A93D60-5395-4DF7-9931-F60A9886BE5F}"/>
          </ac:spMkLst>
        </pc:spChg>
        <pc:picChg chg="add">
          <ac:chgData name="Raimund Andrée" userId="0cf943988599aae0" providerId="LiveId" clId="{AA6A8786-E6E9-4500-8C5D-D3CF94DD6525}" dt="2019-09-18T12:51:10.388" v="584"/>
          <ac:picMkLst>
            <pc:docMk/>
            <pc:sldMk cId="4083750556" sldId="2143"/>
            <ac:picMk id="4" creationId="{6EE98D45-2D5F-49D3-985F-CAF2AF4D2C95}"/>
          </ac:picMkLst>
        </pc:picChg>
        <pc:picChg chg="add">
          <ac:chgData name="Raimund Andrée" userId="0cf943988599aae0" providerId="LiveId" clId="{AA6A8786-E6E9-4500-8C5D-D3CF94DD6525}" dt="2019-09-18T12:51:10.388" v="584"/>
          <ac:picMkLst>
            <pc:docMk/>
            <pc:sldMk cId="4083750556" sldId="2143"/>
            <ac:picMk id="5" creationId="{A7F4F59D-BC94-4397-94D3-B07D3B470D6D}"/>
          </ac:picMkLst>
        </pc:picChg>
        <pc:picChg chg="add">
          <ac:chgData name="Raimund Andrée" userId="0cf943988599aae0" providerId="LiveId" clId="{AA6A8786-E6E9-4500-8C5D-D3CF94DD6525}" dt="2019-09-18T12:51:10.388" v="584"/>
          <ac:picMkLst>
            <pc:docMk/>
            <pc:sldMk cId="4083750556" sldId="2143"/>
            <ac:picMk id="7" creationId="{78A83855-AC0F-4E69-9C36-705EAF3853AC}"/>
          </ac:picMkLst>
        </pc:picChg>
        <pc:picChg chg="add">
          <ac:chgData name="Raimund Andrée" userId="0cf943988599aae0" providerId="LiveId" clId="{AA6A8786-E6E9-4500-8C5D-D3CF94DD6525}" dt="2019-09-18T12:51:10.388" v="584"/>
          <ac:picMkLst>
            <pc:docMk/>
            <pc:sldMk cId="4083750556" sldId="2143"/>
            <ac:picMk id="10" creationId="{CEBA73FA-8596-456B-9F63-018939AECA99}"/>
          </ac:picMkLst>
        </pc:picChg>
        <pc:cxnChg chg="add">
          <ac:chgData name="Raimund Andrée" userId="0cf943988599aae0" providerId="LiveId" clId="{AA6A8786-E6E9-4500-8C5D-D3CF94DD6525}" dt="2019-09-18T12:51:10.388" v="584"/>
          <ac:cxnSpMkLst>
            <pc:docMk/>
            <pc:sldMk cId="4083750556" sldId="2143"/>
            <ac:cxnSpMk id="6" creationId="{30D00560-F7A9-4B7B-B1B4-4E666331025B}"/>
          </ac:cxnSpMkLst>
        </pc:cxnChg>
        <pc:cxnChg chg="add">
          <ac:chgData name="Raimund Andrée" userId="0cf943988599aae0" providerId="LiveId" clId="{AA6A8786-E6E9-4500-8C5D-D3CF94DD6525}" dt="2019-09-18T12:51:10.388" v="584"/>
          <ac:cxnSpMkLst>
            <pc:docMk/>
            <pc:sldMk cId="4083750556" sldId="2143"/>
            <ac:cxnSpMk id="8" creationId="{D5B42768-BC46-44F0-B600-762BFCC469EF}"/>
          </ac:cxnSpMkLst>
        </pc:cxnChg>
        <pc:cxnChg chg="add">
          <ac:chgData name="Raimund Andrée" userId="0cf943988599aae0" providerId="LiveId" clId="{AA6A8786-E6E9-4500-8C5D-D3CF94DD6525}" dt="2019-09-18T12:51:10.388" v="584"/>
          <ac:cxnSpMkLst>
            <pc:docMk/>
            <pc:sldMk cId="4083750556" sldId="2143"/>
            <ac:cxnSpMk id="9" creationId="{EF070A5B-4481-4CAD-B934-163B1C243C13}"/>
          </ac:cxnSpMkLst>
        </pc:cxnChg>
        <pc:cxnChg chg="add">
          <ac:chgData name="Raimund Andrée" userId="0cf943988599aae0" providerId="LiveId" clId="{AA6A8786-E6E9-4500-8C5D-D3CF94DD6525}" dt="2019-09-18T12:51:10.388" v="584"/>
          <ac:cxnSpMkLst>
            <pc:docMk/>
            <pc:sldMk cId="4083750556" sldId="2143"/>
            <ac:cxnSpMk id="11" creationId="{EEEA54AC-06D6-4A04-8A8D-51C090469417}"/>
          </ac:cxnSpMkLst>
        </pc:cxnChg>
      </pc:sldChg>
      <pc:sldChg chg="modSp add">
        <pc:chgData name="Raimund Andrée" userId="0cf943988599aae0" providerId="LiveId" clId="{AA6A8786-E6E9-4500-8C5D-D3CF94DD6525}" dt="2019-09-18T12:54:21.266" v="641" actId="20577"/>
        <pc:sldMkLst>
          <pc:docMk/>
          <pc:sldMk cId="160857806" sldId="2144"/>
        </pc:sldMkLst>
        <pc:spChg chg="mod">
          <ac:chgData name="Raimund Andrée" userId="0cf943988599aae0" providerId="LiveId" clId="{AA6A8786-E6E9-4500-8C5D-D3CF94DD6525}" dt="2019-09-18T12:54:21.266" v="641" actId="20577"/>
          <ac:spMkLst>
            <pc:docMk/>
            <pc:sldMk cId="160857806" sldId="2144"/>
            <ac:spMk id="2" creationId="{49494CA9-6B0A-4D65-9C6C-D5642969DA9C}"/>
          </ac:spMkLst>
        </pc:spChg>
        <pc:spChg chg="mod">
          <ac:chgData name="Raimund Andrée" userId="0cf943988599aae0" providerId="LiveId" clId="{AA6A8786-E6E9-4500-8C5D-D3CF94DD6525}" dt="2019-09-18T12:53:57.023" v="639" actId="1076"/>
          <ac:spMkLst>
            <pc:docMk/>
            <pc:sldMk cId="160857806" sldId="2144"/>
            <ac:spMk id="3" creationId="{5F969747-809E-48A6-A10B-E66407AC18D0}"/>
          </ac:spMkLst>
        </pc:spChg>
      </pc:sldChg>
    </pc:docChg>
  </pc:docChgLst>
  <pc:docChgLst>
    <pc:chgData name="Raimund Andrée" userId="0cf943988599aae0" providerId="LiveId" clId="{DD10C568-5F52-4039-9D07-F93DD25B4D0B}"/>
    <pc:docChg chg="undo redo custSel addSld delSld modSld sldOrd addSection delSection modSection">
      <pc:chgData name="Raimund Andrée" userId="0cf943988599aae0" providerId="LiveId" clId="{DD10C568-5F52-4039-9D07-F93DD25B4D0B}" dt="2022-04-27T13:07:15.269" v="809" actId="47"/>
      <pc:docMkLst>
        <pc:docMk/>
      </pc:docMkLst>
      <pc:sldChg chg="addSp delSp modSp add mod modClrScheme chgLayout">
        <pc:chgData name="Raimund Andrée" userId="0cf943988599aae0" providerId="LiveId" clId="{DD10C568-5F52-4039-9D07-F93DD25B4D0B}" dt="2022-04-26T12:31:16.727" v="68" actId="20577"/>
        <pc:sldMkLst>
          <pc:docMk/>
          <pc:sldMk cId="3747360366" sldId="324"/>
        </pc:sldMkLst>
        <pc:spChg chg="mod ord">
          <ac:chgData name="Raimund Andrée" userId="0cf943988599aae0" providerId="LiveId" clId="{DD10C568-5F52-4039-9D07-F93DD25B4D0B}" dt="2022-04-26T12:25:35.139" v="46" actId="700"/>
          <ac:spMkLst>
            <pc:docMk/>
            <pc:sldMk cId="3747360366" sldId="324"/>
            <ac:spMk id="2" creationId="{00000000-0000-0000-0000-000000000000}"/>
          </ac:spMkLst>
        </pc:spChg>
        <pc:spChg chg="mod">
          <ac:chgData name="Raimund Andrée" userId="0cf943988599aae0" providerId="LiveId" clId="{DD10C568-5F52-4039-9D07-F93DD25B4D0B}" dt="2022-04-26T12:31:16.727" v="68" actId="20577"/>
          <ac:spMkLst>
            <pc:docMk/>
            <pc:sldMk cId="3747360366" sldId="324"/>
            <ac:spMk id="3" creationId="{DE0BDC3C-68E8-4258-94F6-8D2BDA835099}"/>
          </ac:spMkLst>
        </pc:spChg>
        <pc:spChg chg="add del mod ord">
          <ac:chgData name="Raimund Andrée" userId="0cf943988599aae0" providerId="LiveId" clId="{DD10C568-5F52-4039-9D07-F93DD25B4D0B}" dt="2022-04-26T12:25:54.265" v="47" actId="478"/>
          <ac:spMkLst>
            <pc:docMk/>
            <pc:sldMk cId="3747360366" sldId="324"/>
            <ac:spMk id="4" creationId="{8093EB61-6787-4CB8-A5AB-91BE1CAADD91}"/>
          </ac:spMkLst>
        </pc:spChg>
        <pc:spChg chg="mod">
          <ac:chgData name="Raimund Andrée" userId="0cf943988599aae0" providerId="LiveId" clId="{DD10C568-5F52-4039-9D07-F93DD25B4D0B}" dt="2022-04-26T12:30:53.754" v="65" actId="20577"/>
          <ac:spMkLst>
            <pc:docMk/>
            <pc:sldMk cId="3747360366" sldId="324"/>
            <ac:spMk id="5" creationId="{BB319379-33A8-45F5-AF23-15B2A8F7045A}"/>
          </ac:spMkLst>
        </pc:spChg>
      </pc:sldChg>
      <pc:sldChg chg="addSp delSp modSp add mod modClrScheme chgLayout">
        <pc:chgData name="Raimund Andrée" userId="0cf943988599aae0" providerId="LiveId" clId="{DD10C568-5F52-4039-9D07-F93DD25B4D0B}" dt="2022-04-26T12:27:29.915" v="59" actId="1076"/>
        <pc:sldMkLst>
          <pc:docMk/>
          <pc:sldMk cId="2113178430" sldId="325"/>
        </pc:sldMkLst>
        <pc:spChg chg="mod ord">
          <ac:chgData name="Raimund Andrée" userId="0cf943988599aae0" providerId="LiveId" clId="{DD10C568-5F52-4039-9D07-F93DD25B4D0B}" dt="2022-04-26T12:27:22.301" v="57" actId="700"/>
          <ac:spMkLst>
            <pc:docMk/>
            <pc:sldMk cId="2113178430" sldId="325"/>
            <ac:spMk id="2" creationId="{00000000-0000-0000-0000-000000000000}"/>
          </ac:spMkLst>
        </pc:spChg>
        <pc:spChg chg="mod">
          <ac:chgData name="Raimund Andrée" userId="0cf943988599aae0" providerId="LiveId" clId="{DD10C568-5F52-4039-9D07-F93DD25B4D0B}" dt="2022-04-26T12:27:29.915" v="59" actId="1076"/>
          <ac:spMkLst>
            <pc:docMk/>
            <pc:sldMk cId="2113178430" sldId="325"/>
            <ac:spMk id="3" creationId="{DE0BDC3C-68E8-4258-94F6-8D2BDA835099}"/>
          </ac:spMkLst>
        </pc:spChg>
        <pc:spChg chg="add del mod ord">
          <ac:chgData name="Raimund Andrée" userId="0cf943988599aae0" providerId="LiveId" clId="{DD10C568-5F52-4039-9D07-F93DD25B4D0B}" dt="2022-04-26T12:27:23.967" v="58" actId="478"/>
          <ac:spMkLst>
            <pc:docMk/>
            <pc:sldMk cId="2113178430" sldId="325"/>
            <ac:spMk id="4" creationId="{5BA28B85-7917-43EF-B628-68690DCEA1E1}"/>
          </ac:spMkLst>
        </pc:spChg>
      </pc:sldChg>
      <pc:sldChg chg="addSp delSp modSp add mod modClrScheme chgLayout">
        <pc:chgData name="Raimund Andrée" userId="0cf943988599aae0" providerId="LiveId" clId="{DD10C568-5F52-4039-9D07-F93DD25B4D0B}" dt="2022-04-26T12:27:36.177" v="60" actId="1076"/>
        <pc:sldMkLst>
          <pc:docMk/>
          <pc:sldMk cId="2459403810" sldId="326"/>
        </pc:sldMkLst>
        <pc:spChg chg="mod ord">
          <ac:chgData name="Raimund Andrée" userId="0cf943988599aae0" providerId="LiveId" clId="{DD10C568-5F52-4039-9D07-F93DD25B4D0B}" dt="2022-04-26T12:27:05.393" v="55" actId="700"/>
          <ac:spMkLst>
            <pc:docMk/>
            <pc:sldMk cId="2459403810" sldId="326"/>
            <ac:spMk id="2" creationId="{00000000-0000-0000-0000-000000000000}"/>
          </ac:spMkLst>
        </pc:spChg>
        <pc:spChg chg="mod">
          <ac:chgData name="Raimund Andrée" userId="0cf943988599aae0" providerId="LiveId" clId="{DD10C568-5F52-4039-9D07-F93DD25B4D0B}" dt="2022-04-26T12:27:36.177" v="60" actId="1076"/>
          <ac:spMkLst>
            <pc:docMk/>
            <pc:sldMk cId="2459403810" sldId="326"/>
            <ac:spMk id="3" creationId="{DE0BDC3C-68E8-4258-94F6-8D2BDA835099}"/>
          </ac:spMkLst>
        </pc:spChg>
        <pc:spChg chg="add del mod ord">
          <ac:chgData name="Raimund Andrée" userId="0cf943988599aae0" providerId="LiveId" clId="{DD10C568-5F52-4039-9D07-F93DD25B4D0B}" dt="2022-04-26T12:27:14.223" v="56" actId="478"/>
          <ac:spMkLst>
            <pc:docMk/>
            <pc:sldMk cId="2459403810" sldId="326"/>
            <ac:spMk id="4" creationId="{18ABFF01-6B7F-4C93-B34D-D80CC4A5FD69}"/>
          </ac:spMkLst>
        </pc:spChg>
      </pc:sldChg>
      <pc:sldChg chg="del">
        <pc:chgData name="Raimund Andrée" userId="0cf943988599aae0" providerId="LiveId" clId="{DD10C568-5F52-4039-9D07-F93DD25B4D0B}" dt="2022-04-26T12:07:59.622" v="39" actId="47"/>
        <pc:sldMkLst>
          <pc:docMk/>
          <pc:sldMk cId="2892219758" sldId="1845"/>
        </pc:sldMkLst>
      </pc:sldChg>
      <pc:sldChg chg="del">
        <pc:chgData name="Raimund Andrée" userId="0cf943988599aae0" providerId="LiveId" clId="{DD10C568-5F52-4039-9D07-F93DD25B4D0B}" dt="2022-04-26T15:10:08.029" v="714" actId="47"/>
        <pc:sldMkLst>
          <pc:docMk/>
          <pc:sldMk cId="3491184216" sldId="1846"/>
        </pc:sldMkLst>
      </pc:sldChg>
      <pc:sldChg chg="del">
        <pc:chgData name="Raimund Andrée" userId="0cf943988599aae0" providerId="LiveId" clId="{DD10C568-5F52-4039-9D07-F93DD25B4D0B}" dt="2022-04-26T15:10:08.029" v="714" actId="47"/>
        <pc:sldMkLst>
          <pc:docMk/>
          <pc:sldMk cId="1276507350" sldId="1847"/>
        </pc:sldMkLst>
      </pc:sldChg>
      <pc:sldChg chg="addSp delSp modSp mod chgLayout">
        <pc:chgData name="Raimund Andrée" userId="0cf943988599aae0" providerId="LiveId" clId="{DD10C568-5F52-4039-9D07-F93DD25B4D0B}" dt="2022-04-26T14:59:26.390" v="612" actId="20577"/>
        <pc:sldMkLst>
          <pc:docMk/>
          <pc:sldMk cId="2379934573" sldId="1854"/>
        </pc:sldMkLst>
        <pc:spChg chg="add mod ord">
          <ac:chgData name="Raimund Andrée" userId="0cf943988599aae0" providerId="LiveId" clId="{DD10C568-5F52-4039-9D07-F93DD25B4D0B}" dt="2022-04-26T14:59:26.390" v="612" actId="20577"/>
          <ac:spMkLst>
            <pc:docMk/>
            <pc:sldMk cId="2379934573" sldId="1854"/>
            <ac:spMk id="2" creationId="{C73E8012-0D57-4C44-82E2-8D83A290A51C}"/>
          </ac:spMkLst>
        </pc:spChg>
        <pc:spChg chg="add del mod ord">
          <ac:chgData name="Raimund Andrée" userId="0cf943988599aae0" providerId="LiveId" clId="{DD10C568-5F52-4039-9D07-F93DD25B4D0B}" dt="2022-04-26T14:59:12.375" v="575" actId="478"/>
          <ac:spMkLst>
            <pc:docMk/>
            <pc:sldMk cId="2379934573" sldId="1854"/>
            <ac:spMk id="3" creationId="{0589B835-F7A0-4C88-A6A9-50AC889A9F00}"/>
          </ac:spMkLst>
        </pc:spChg>
      </pc:sldChg>
      <pc:sldChg chg="del">
        <pc:chgData name="Raimund Andrée" userId="0cf943988599aae0" providerId="LiveId" clId="{DD10C568-5F52-4039-9D07-F93DD25B4D0B}" dt="2022-04-26T14:55:58.494" v="519" actId="47"/>
        <pc:sldMkLst>
          <pc:docMk/>
          <pc:sldMk cId="899786852" sldId="1856"/>
        </pc:sldMkLst>
      </pc:sldChg>
      <pc:sldChg chg="modSp mod">
        <pc:chgData name="Raimund Andrée" userId="0cf943988599aae0" providerId="LiveId" clId="{DD10C568-5F52-4039-9D07-F93DD25B4D0B}" dt="2022-04-26T14:38:22.109" v="419" actId="20577"/>
        <pc:sldMkLst>
          <pc:docMk/>
          <pc:sldMk cId="2980022429" sldId="1857"/>
        </pc:sldMkLst>
        <pc:spChg chg="mod">
          <ac:chgData name="Raimund Andrée" userId="0cf943988599aae0" providerId="LiveId" clId="{DD10C568-5F52-4039-9D07-F93DD25B4D0B}" dt="2022-04-26T14:33:17.316" v="79" actId="790"/>
          <ac:spMkLst>
            <pc:docMk/>
            <pc:sldMk cId="2980022429" sldId="1857"/>
            <ac:spMk id="2" creationId="{D3FCE359-3F58-495F-A5F5-70BC8BEE249B}"/>
          </ac:spMkLst>
        </pc:spChg>
        <pc:spChg chg="mod">
          <ac:chgData name="Raimund Andrée" userId="0cf943988599aae0" providerId="LiveId" clId="{DD10C568-5F52-4039-9D07-F93DD25B4D0B}" dt="2022-04-26T14:38:22.109" v="419" actId="20577"/>
          <ac:spMkLst>
            <pc:docMk/>
            <pc:sldMk cId="2980022429" sldId="1857"/>
            <ac:spMk id="3" creationId="{CF5FA86A-3E84-4208-8635-5EEDEAF9EFB9}"/>
          </ac:spMkLst>
        </pc:spChg>
      </pc:sldChg>
      <pc:sldChg chg="del">
        <pc:chgData name="Raimund Andrée" userId="0cf943988599aae0" providerId="LiveId" clId="{DD10C568-5F52-4039-9D07-F93DD25B4D0B}" dt="2022-04-26T12:25:29.382" v="45" actId="47"/>
        <pc:sldMkLst>
          <pc:docMk/>
          <pc:sldMk cId="58030208" sldId="1858"/>
        </pc:sldMkLst>
      </pc:sldChg>
      <pc:sldChg chg="del">
        <pc:chgData name="Raimund Andrée" userId="0cf943988599aae0" providerId="LiveId" clId="{DD10C568-5F52-4039-9D07-F93DD25B4D0B}" dt="2022-04-26T15:00:03.028" v="613" actId="47"/>
        <pc:sldMkLst>
          <pc:docMk/>
          <pc:sldMk cId="1238539000" sldId="1861"/>
        </pc:sldMkLst>
      </pc:sldChg>
      <pc:sldChg chg="del">
        <pc:chgData name="Raimund Andrée" userId="0cf943988599aae0" providerId="LiveId" clId="{DD10C568-5F52-4039-9D07-F93DD25B4D0B}" dt="2022-04-26T15:10:08.029" v="714" actId="47"/>
        <pc:sldMkLst>
          <pc:docMk/>
          <pc:sldMk cId="162340734" sldId="1862"/>
        </pc:sldMkLst>
      </pc:sldChg>
      <pc:sldChg chg="modSp ord modAnim">
        <pc:chgData name="Raimund Andrée" userId="0cf943988599aae0" providerId="LiveId" clId="{DD10C568-5F52-4039-9D07-F93DD25B4D0B}" dt="2022-04-26T12:32:25.823" v="70"/>
        <pc:sldMkLst>
          <pc:docMk/>
          <pc:sldMk cId="588787710" sldId="1864"/>
        </pc:sldMkLst>
        <pc:spChg chg="mod">
          <ac:chgData name="Raimund Andrée" userId="0cf943988599aae0" providerId="LiveId" clId="{DD10C568-5F52-4039-9D07-F93DD25B4D0B}" dt="2022-04-26T12:18:41.858" v="43" actId="20577"/>
          <ac:spMkLst>
            <pc:docMk/>
            <pc:sldMk cId="588787710" sldId="1864"/>
            <ac:spMk id="3" creationId="{F77CB6CD-E0D1-4266-9A84-04C7B8EB3FC7}"/>
          </ac:spMkLst>
        </pc:spChg>
        <pc:spChg chg="mod">
          <ac:chgData name="Raimund Andrée" userId="0cf943988599aae0" providerId="LiveId" clId="{DD10C568-5F52-4039-9D07-F93DD25B4D0B}" dt="2022-04-26T12:18:36.993" v="41" actId="20577"/>
          <ac:spMkLst>
            <pc:docMk/>
            <pc:sldMk cId="588787710" sldId="1864"/>
            <ac:spMk id="4" creationId="{8AAD45A7-D023-408A-BF7F-AEBD070928A4}"/>
          </ac:spMkLst>
        </pc:spChg>
      </pc:sldChg>
      <pc:sldChg chg="addSp modSp mod">
        <pc:chgData name="Raimund Andrée" userId="0cf943988599aae0" providerId="LiveId" clId="{DD10C568-5F52-4039-9D07-F93DD25B4D0B}" dt="2022-04-25T21:53:08.197" v="24" actId="20577"/>
        <pc:sldMkLst>
          <pc:docMk/>
          <pc:sldMk cId="2466814432" sldId="1865"/>
        </pc:sldMkLst>
        <pc:spChg chg="mod">
          <ac:chgData name="Raimund Andrée" userId="0cf943988599aae0" providerId="LiveId" clId="{DD10C568-5F52-4039-9D07-F93DD25B4D0B}" dt="2022-04-25T21:52:05.578" v="6" actId="1076"/>
          <ac:spMkLst>
            <pc:docMk/>
            <pc:sldMk cId="2466814432" sldId="1865"/>
            <ac:spMk id="8" creationId="{C497C826-6029-4FA9-87EB-0001823A67CE}"/>
          </ac:spMkLst>
        </pc:spChg>
        <pc:spChg chg="mod">
          <ac:chgData name="Raimund Andrée" userId="0cf943988599aae0" providerId="LiveId" clId="{DD10C568-5F52-4039-9D07-F93DD25B4D0B}" dt="2022-04-25T21:52:05.578" v="6" actId="1076"/>
          <ac:spMkLst>
            <pc:docMk/>
            <pc:sldMk cId="2466814432" sldId="1865"/>
            <ac:spMk id="9" creationId="{7AE7269C-246D-4530-8443-7C7D82878556}"/>
          </ac:spMkLst>
        </pc:spChg>
        <pc:spChg chg="add mod">
          <ac:chgData name="Raimund Andrée" userId="0cf943988599aae0" providerId="LiveId" clId="{DD10C568-5F52-4039-9D07-F93DD25B4D0B}" dt="2022-04-25T21:53:08.197" v="24" actId="20577"/>
          <ac:spMkLst>
            <pc:docMk/>
            <pc:sldMk cId="2466814432" sldId="1865"/>
            <ac:spMk id="10" creationId="{32E8DF29-0D15-4F9C-A8D2-51B2DE258A65}"/>
          </ac:spMkLst>
        </pc:spChg>
        <pc:spChg chg="add mod">
          <ac:chgData name="Raimund Andrée" userId="0cf943988599aae0" providerId="LiveId" clId="{DD10C568-5F52-4039-9D07-F93DD25B4D0B}" dt="2022-04-25T21:53:00.234" v="22" actId="20577"/>
          <ac:spMkLst>
            <pc:docMk/>
            <pc:sldMk cId="2466814432" sldId="1865"/>
            <ac:spMk id="11" creationId="{059A902C-14CE-4C94-A5D6-8F43FEF24364}"/>
          </ac:spMkLst>
        </pc:spChg>
        <pc:graphicFrameChg chg="add mod">
          <ac:chgData name="Raimund Andrée" userId="0cf943988599aae0" providerId="LiveId" clId="{DD10C568-5F52-4039-9D07-F93DD25B4D0B}" dt="2022-04-25T21:52:13.340" v="10" actId="1076"/>
          <ac:graphicFrameMkLst>
            <pc:docMk/>
            <pc:sldMk cId="2466814432" sldId="1865"/>
            <ac:graphicFrameMk id="3" creationId="{E07B41A5-BDD7-4663-A8CB-E7BFCA20788F}"/>
          </ac:graphicFrameMkLst>
        </pc:graphicFrameChg>
        <pc:graphicFrameChg chg="add mod">
          <ac:chgData name="Raimund Andrée" userId="0cf943988599aae0" providerId="LiveId" clId="{DD10C568-5F52-4039-9D07-F93DD25B4D0B}" dt="2022-04-25T21:52:14.200" v="11" actId="1076"/>
          <ac:graphicFrameMkLst>
            <pc:docMk/>
            <pc:sldMk cId="2466814432" sldId="1865"/>
            <ac:graphicFrameMk id="4" creationId="{3E48FAE1-C8C5-4140-BFAD-E460DEC4BE3E}"/>
          </ac:graphicFrameMkLst>
        </pc:graphicFrameChg>
        <pc:graphicFrameChg chg="mod">
          <ac:chgData name="Raimund Andrée" userId="0cf943988599aae0" providerId="LiveId" clId="{DD10C568-5F52-4039-9D07-F93DD25B4D0B}" dt="2022-04-25T21:52:05.578" v="6" actId="1076"/>
          <ac:graphicFrameMkLst>
            <pc:docMk/>
            <pc:sldMk cId="2466814432" sldId="1865"/>
            <ac:graphicFrameMk id="6" creationId="{0C6CABF0-242A-4FC6-A979-2B9510D3A82B}"/>
          </ac:graphicFrameMkLst>
        </pc:graphicFrameChg>
        <pc:graphicFrameChg chg="mod">
          <ac:chgData name="Raimund Andrée" userId="0cf943988599aae0" providerId="LiveId" clId="{DD10C568-5F52-4039-9D07-F93DD25B4D0B}" dt="2022-04-25T21:52:05.578" v="6" actId="1076"/>
          <ac:graphicFrameMkLst>
            <pc:docMk/>
            <pc:sldMk cId="2466814432" sldId="1865"/>
            <ac:graphicFrameMk id="7" creationId="{FD38C384-EBC3-4F11-8089-7161316B798C}"/>
          </ac:graphicFrameMkLst>
        </pc:graphicFrameChg>
      </pc:sldChg>
      <pc:sldChg chg="del">
        <pc:chgData name="Raimund Andrée" userId="0cf943988599aae0" providerId="LiveId" clId="{DD10C568-5F52-4039-9D07-F93DD25B4D0B}" dt="2022-04-26T15:00:45.928" v="614" actId="47"/>
        <pc:sldMkLst>
          <pc:docMk/>
          <pc:sldMk cId="3653333126" sldId="1866"/>
        </pc:sldMkLst>
      </pc:sldChg>
      <pc:sldChg chg="del">
        <pc:chgData name="Raimund Andrée" userId="0cf943988599aae0" providerId="LiveId" clId="{DD10C568-5F52-4039-9D07-F93DD25B4D0B}" dt="2022-04-27T13:07:12.780" v="808" actId="47"/>
        <pc:sldMkLst>
          <pc:docMk/>
          <pc:sldMk cId="3761477550" sldId="1868"/>
        </pc:sldMkLst>
      </pc:sldChg>
      <pc:sldChg chg="del">
        <pc:chgData name="Raimund Andrée" userId="0cf943988599aae0" providerId="LiveId" clId="{DD10C568-5F52-4039-9D07-F93DD25B4D0B}" dt="2022-04-26T15:10:08.029" v="714" actId="47"/>
        <pc:sldMkLst>
          <pc:docMk/>
          <pc:sldMk cId="1752452480" sldId="1869"/>
        </pc:sldMkLst>
      </pc:sldChg>
      <pc:sldChg chg="del">
        <pc:chgData name="Raimund Andrée" userId="0cf943988599aae0" providerId="LiveId" clId="{DD10C568-5F52-4039-9D07-F93DD25B4D0B}" dt="2022-04-26T15:03:42.108" v="615" actId="47"/>
        <pc:sldMkLst>
          <pc:docMk/>
          <pc:sldMk cId="3250009711" sldId="1870"/>
        </pc:sldMkLst>
      </pc:sldChg>
      <pc:sldChg chg="addSp delSp modSp mod">
        <pc:chgData name="Raimund Andrée" userId="0cf943988599aae0" providerId="LiveId" clId="{DD10C568-5F52-4039-9D07-F93DD25B4D0B}" dt="2022-04-26T12:30:37.023" v="64" actId="478"/>
        <pc:sldMkLst>
          <pc:docMk/>
          <pc:sldMk cId="2941554335" sldId="2140"/>
        </pc:sldMkLst>
        <pc:spChg chg="del">
          <ac:chgData name="Raimund Andrée" userId="0cf943988599aae0" providerId="LiveId" clId="{DD10C568-5F52-4039-9D07-F93DD25B4D0B}" dt="2022-04-26T12:30:28.238" v="62" actId="478"/>
          <ac:spMkLst>
            <pc:docMk/>
            <pc:sldMk cId="2941554335" sldId="2140"/>
            <ac:spMk id="4" creationId="{00000000-0000-0000-0000-000000000000}"/>
          </ac:spMkLst>
        </pc:spChg>
        <pc:spChg chg="del">
          <ac:chgData name="Raimund Andrée" userId="0cf943988599aae0" providerId="LiveId" clId="{DD10C568-5F52-4039-9D07-F93DD25B4D0B}" dt="2022-04-26T12:30:28.238" v="62" actId="478"/>
          <ac:spMkLst>
            <pc:docMk/>
            <pc:sldMk cId="2941554335" sldId="2140"/>
            <ac:spMk id="15" creationId="{00000000-0000-0000-0000-000000000000}"/>
          </ac:spMkLst>
        </pc:spChg>
        <pc:spChg chg="add del mod">
          <ac:chgData name="Raimund Andrée" userId="0cf943988599aae0" providerId="LiveId" clId="{DD10C568-5F52-4039-9D07-F93DD25B4D0B}" dt="2022-04-26T12:30:37.023" v="64" actId="478"/>
          <ac:spMkLst>
            <pc:docMk/>
            <pc:sldMk cId="2941554335" sldId="2140"/>
            <ac:spMk id="41" creationId="{06DFB0DB-BCB8-46FC-BCF3-A684C1BC7C8E}"/>
          </ac:spMkLst>
        </pc:spChg>
        <pc:spChg chg="add mod">
          <ac:chgData name="Raimund Andrée" userId="0cf943988599aae0" providerId="LiveId" clId="{DD10C568-5F52-4039-9D07-F93DD25B4D0B}" dt="2022-04-26T12:30:29.101" v="63"/>
          <ac:spMkLst>
            <pc:docMk/>
            <pc:sldMk cId="2941554335" sldId="2140"/>
            <ac:spMk id="43" creationId="{AF3ED692-B71F-4F1D-98A9-018B06584A7F}"/>
          </ac:spMkLst>
        </pc:spChg>
        <pc:spChg chg="del">
          <ac:chgData name="Raimund Andrée" userId="0cf943988599aae0" providerId="LiveId" clId="{DD10C568-5F52-4039-9D07-F93DD25B4D0B}" dt="2022-04-26T12:30:28.238" v="62" actId="478"/>
          <ac:spMkLst>
            <pc:docMk/>
            <pc:sldMk cId="2941554335" sldId="2140"/>
            <ac:spMk id="49" creationId="{00000000-0000-0000-0000-000000000000}"/>
          </ac:spMkLst>
        </pc:spChg>
        <pc:spChg chg="add mod">
          <ac:chgData name="Raimund Andrée" userId="0cf943988599aae0" providerId="LiveId" clId="{DD10C568-5F52-4039-9D07-F93DD25B4D0B}" dt="2022-04-26T12:30:29.101" v="63"/>
          <ac:spMkLst>
            <pc:docMk/>
            <pc:sldMk cId="2941554335" sldId="2140"/>
            <ac:spMk id="50" creationId="{6608A0D8-8A1D-447D-9B63-E9583B77B59B}"/>
          </ac:spMkLst>
        </pc:spChg>
        <pc:spChg chg="del">
          <ac:chgData name="Raimund Andrée" userId="0cf943988599aae0" providerId="LiveId" clId="{DD10C568-5F52-4039-9D07-F93DD25B4D0B}" dt="2022-04-26T12:30:28.238" v="62" actId="478"/>
          <ac:spMkLst>
            <pc:docMk/>
            <pc:sldMk cId="2941554335" sldId="2140"/>
            <ac:spMk id="52" creationId="{00000000-0000-0000-0000-000000000000}"/>
          </ac:spMkLst>
        </pc:spChg>
        <pc:spChg chg="del">
          <ac:chgData name="Raimund Andrée" userId="0cf943988599aae0" providerId="LiveId" clId="{DD10C568-5F52-4039-9D07-F93DD25B4D0B}" dt="2022-04-26T12:30:28.238" v="62" actId="478"/>
          <ac:spMkLst>
            <pc:docMk/>
            <pc:sldMk cId="2941554335" sldId="2140"/>
            <ac:spMk id="53" creationId="{00000000-0000-0000-0000-000000000000}"/>
          </ac:spMkLst>
        </pc:spChg>
        <pc:spChg chg="del">
          <ac:chgData name="Raimund Andrée" userId="0cf943988599aae0" providerId="LiveId" clId="{DD10C568-5F52-4039-9D07-F93DD25B4D0B}" dt="2022-04-26T12:30:28.238" v="62" actId="478"/>
          <ac:spMkLst>
            <pc:docMk/>
            <pc:sldMk cId="2941554335" sldId="2140"/>
            <ac:spMk id="54" creationId="{00000000-0000-0000-0000-000000000000}"/>
          </ac:spMkLst>
        </pc:spChg>
        <pc:spChg chg="add mod">
          <ac:chgData name="Raimund Andrée" userId="0cf943988599aae0" providerId="LiveId" clId="{DD10C568-5F52-4039-9D07-F93DD25B4D0B}" dt="2022-04-26T12:30:29.101" v="63"/>
          <ac:spMkLst>
            <pc:docMk/>
            <pc:sldMk cId="2941554335" sldId="2140"/>
            <ac:spMk id="60" creationId="{589A0DBF-6D62-4824-913C-75D1D1B667DF}"/>
          </ac:spMkLst>
        </pc:spChg>
        <pc:spChg chg="add mod">
          <ac:chgData name="Raimund Andrée" userId="0cf943988599aae0" providerId="LiveId" clId="{DD10C568-5F52-4039-9D07-F93DD25B4D0B}" dt="2022-04-26T12:30:29.101" v="63"/>
          <ac:spMkLst>
            <pc:docMk/>
            <pc:sldMk cId="2941554335" sldId="2140"/>
            <ac:spMk id="62" creationId="{BEE62D44-1B6A-449E-9A04-5D373B9E16B4}"/>
          </ac:spMkLst>
        </pc:spChg>
        <pc:spChg chg="del">
          <ac:chgData name="Raimund Andrée" userId="0cf943988599aae0" providerId="LiveId" clId="{DD10C568-5F52-4039-9D07-F93DD25B4D0B}" dt="2022-04-26T12:30:28.238" v="62" actId="478"/>
          <ac:spMkLst>
            <pc:docMk/>
            <pc:sldMk cId="2941554335" sldId="2140"/>
            <ac:spMk id="71" creationId="{00000000-0000-0000-0000-000000000000}"/>
          </ac:spMkLst>
        </pc:spChg>
        <pc:spChg chg="del">
          <ac:chgData name="Raimund Andrée" userId="0cf943988599aae0" providerId="LiveId" clId="{DD10C568-5F52-4039-9D07-F93DD25B4D0B}" dt="2022-04-26T12:30:28.238" v="62" actId="478"/>
          <ac:spMkLst>
            <pc:docMk/>
            <pc:sldMk cId="2941554335" sldId="2140"/>
            <ac:spMk id="73" creationId="{00000000-0000-0000-0000-000000000000}"/>
          </ac:spMkLst>
        </pc:spChg>
        <pc:spChg chg="del">
          <ac:chgData name="Raimund Andrée" userId="0cf943988599aae0" providerId="LiveId" clId="{DD10C568-5F52-4039-9D07-F93DD25B4D0B}" dt="2022-04-26T12:30:28.238" v="62" actId="478"/>
          <ac:spMkLst>
            <pc:docMk/>
            <pc:sldMk cId="2941554335" sldId="2140"/>
            <ac:spMk id="74" creationId="{00000000-0000-0000-0000-000000000000}"/>
          </ac:spMkLst>
        </pc:spChg>
        <pc:spChg chg="del">
          <ac:chgData name="Raimund Andrée" userId="0cf943988599aae0" providerId="LiveId" clId="{DD10C568-5F52-4039-9D07-F93DD25B4D0B}" dt="2022-04-26T12:30:28.238" v="62" actId="478"/>
          <ac:spMkLst>
            <pc:docMk/>
            <pc:sldMk cId="2941554335" sldId="2140"/>
            <ac:spMk id="75" creationId="{00000000-0000-0000-0000-000000000000}"/>
          </ac:spMkLst>
        </pc:spChg>
        <pc:spChg chg="del">
          <ac:chgData name="Raimund Andrée" userId="0cf943988599aae0" providerId="LiveId" clId="{DD10C568-5F52-4039-9D07-F93DD25B4D0B}" dt="2022-04-26T12:30:28.238" v="62" actId="478"/>
          <ac:spMkLst>
            <pc:docMk/>
            <pc:sldMk cId="2941554335" sldId="2140"/>
            <ac:spMk id="76" creationId="{00000000-0000-0000-0000-000000000000}"/>
          </ac:spMkLst>
        </pc:spChg>
        <pc:spChg chg="mod">
          <ac:chgData name="Raimund Andrée" userId="0cf943988599aae0" providerId="LiveId" clId="{DD10C568-5F52-4039-9D07-F93DD25B4D0B}" dt="2022-04-26T12:30:29.101" v="63"/>
          <ac:spMkLst>
            <pc:docMk/>
            <pc:sldMk cId="2941554335" sldId="2140"/>
            <ac:spMk id="79" creationId="{014BC2E4-0F13-468F-8130-4934D590F1DC}"/>
          </ac:spMkLst>
        </pc:spChg>
        <pc:spChg chg="add mod">
          <ac:chgData name="Raimund Andrée" userId="0cf943988599aae0" providerId="LiveId" clId="{DD10C568-5F52-4039-9D07-F93DD25B4D0B}" dt="2022-04-26T12:30:29.101" v="63"/>
          <ac:spMkLst>
            <pc:docMk/>
            <pc:sldMk cId="2941554335" sldId="2140"/>
            <ac:spMk id="80" creationId="{3FD9B4DF-29F7-4C59-BDD1-D14146A82062}"/>
          </ac:spMkLst>
        </pc:spChg>
        <pc:spChg chg="mod">
          <ac:chgData name="Raimund Andrée" userId="0cf943988599aae0" providerId="LiveId" clId="{DD10C568-5F52-4039-9D07-F93DD25B4D0B}" dt="2022-04-26T12:30:29.101" v="63"/>
          <ac:spMkLst>
            <pc:docMk/>
            <pc:sldMk cId="2941554335" sldId="2140"/>
            <ac:spMk id="83" creationId="{1F092A0C-B595-40B9-A8C2-BD147242C533}"/>
          </ac:spMkLst>
        </pc:spChg>
        <pc:spChg chg="add mod">
          <ac:chgData name="Raimund Andrée" userId="0cf943988599aae0" providerId="LiveId" clId="{DD10C568-5F52-4039-9D07-F93DD25B4D0B}" dt="2022-04-26T12:30:29.101" v="63"/>
          <ac:spMkLst>
            <pc:docMk/>
            <pc:sldMk cId="2941554335" sldId="2140"/>
            <ac:spMk id="88" creationId="{70746D6D-BB6B-4806-AFB1-9BAFAA2EABFF}"/>
          </ac:spMkLst>
        </pc:spChg>
        <pc:spChg chg="mod">
          <ac:chgData name="Raimund Andrée" userId="0cf943988599aae0" providerId="LiveId" clId="{DD10C568-5F52-4039-9D07-F93DD25B4D0B}" dt="2022-04-26T12:30:29.101" v="63"/>
          <ac:spMkLst>
            <pc:docMk/>
            <pc:sldMk cId="2941554335" sldId="2140"/>
            <ac:spMk id="91" creationId="{98424973-0D6E-406A-883F-DF5EFE9AA891}"/>
          </ac:spMkLst>
        </pc:spChg>
        <pc:spChg chg="mod">
          <ac:chgData name="Raimund Andrée" userId="0cf943988599aae0" providerId="LiveId" clId="{DD10C568-5F52-4039-9D07-F93DD25B4D0B}" dt="2022-04-26T12:30:29.101" v="63"/>
          <ac:spMkLst>
            <pc:docMk/>
            <pc:sldMk cId="2941554335" sldId="2140"/>
            <ac:spMk id="94" creationId="{B7907F55-7B64-438C-8D9E-6EB236639D83}"/>
          </ac:spMkLst>
        </pc:spChg>
        <pc:spChg chg="mod">
          <ac:chgData name="Raimund Andrée" userId="0cf943988599aae0" providerId="LiveId" clId="{DD10C568-5F52-4039-9D07-F93DD25B4D0B}" dt="2022-04-26T12:30:29.101" v="63"/>
          <ac:spMkLst>
            <pc:docMk/>
            <pc:sldMk cId="2941554335" sldId="2140"/>
            <ac:spMk id="97" creationId="{8EB48941-38AD-4AFC-8A0E-E8516F6734F0}"/>
          </ac:spMkLst>
        </pc:spChg>
        <pc:spChg chg="mod">
          <ac:chgData name="Raimund Andrée" userId="0cf943988599aae0" providerId="LiveId" clId="{DD10C568-5F52-4039-9D07-F93DD25B4D0B}" dt="2022-04-26T12:30:29.101" v="63"/>
          <ac:spMkLst>
            <pc:docMk/>
            <pc:sldMk cId="2941554335" sldId="2140"/>
            <ac:spMk id="100" creationId="{DD2063F9-FB52-4A30-BE63-839659277186}"/>
          </ac:spMkLst>
        </pc:spChg>
        <pc:spChg chg="mod">
          <ac:chgData name="Raimund Andrée" userId="0cf943988599aae0" providerId="LiveId" clId="{DD10C568-5F52-4039-9D07-F93DD25B4D0B}" dt="2022-04-26T12:30:29.101" v="63"/>
          <ac:spMkLst>
            <pc:docMk/>
            <pc:sldMk cId="2941554335" sldId="2140"/>
            <ac:spMk id="103" creationId="{588B65FA-FF9B-4A38-BBED-6B47944B812F}"/>
          </ac:spMkLst>
        </pc:spChg>
        <pc:spChg chg="add mod">
          <ac:chgData name="Raimund Andrée" userId="0cf943988599aae0" providerId="LiveId" clId="{DD10C568-5F52-4039-9D07-F93DD25B4D0B}" dt="2022-04-26T12:30:29.101" v="63"/>
          <ac:spMkLst>
            <pc:docMk/>
            <pc:sldMk cId="2941554335" sldId="2140"/>
            <ac:spMk id="104" creationId="{49C1C4A6-07B2-4E3C-8606-8BDB2DDC586D}"/>
          </ac:spMkLst>
        </pc:spChg>
        <pc:spChg chg="add mod">
          <ac:chgData name="Raimund Andrée" userId="0cf943988599aae0" providerId="LiveId" clId="{DD10C568-5F52-4039-9D07-F93DD25B4D0B}" dt="2022-04-26T12:30:29.101" v="63"/>
          <ac:spMkLst>
            <pc:docMk/>
            <pc:sldMk cId="2941554335" sldId="2140"/>
            <ac:spMk id="105" creationId="{8707112F-6E5C-4099-8C43-2132517AEB3B}"/>
          </ac:spMkLst>
        </pc:spChg>
        <pc:spChg chg="add mod">
          <ac:chgData name="Raimund Andrée" userId="0cf943988599aae0" providerId="LiveId" clId="{DD10C568-5F52-4039-9D07-F93DD25B4D0B}" dt="2022-04-26T12:30:29.101" v="63"/>
          <ac:spMkLst>
            <pc:docMk/>
            <pc:sldMk cId="2941554335" sldId="2140"/>
            <ac:spMk id="106" creationId="{3368552A-B063-45B0-9534-8642F9611A51}"/>
          </ac:spMkLst>
        </pc:spChg>
        <pc:spChg chg="add mod">
          <ac:chgData name="Raimund Andrée" userId="0cf943988599aae0" providerId="LiveId" clId="{DD10C568-5F52-4039-9D07-F93DD25B4D0B}" dt="2022-04-26T12:30:29.101" v="63"/>
          <ac:spMkLst>
            <pc:docMk/>
            <pc:sldMk cId="2941554335" sldId="2140"/>
            <ac:spMk id="107" creationId="{5B781DE1-7106-4992-A426-724CAB596BBB}"/>
          </ac:spMkLst>
        </pc:spChg>
        <pc:spChg chg="add mod">
          <ac:chgData name="Raimund Andrée" userId="0cf943988599aae0" providerId="LiveId" clId="{DD10C568-5F52-4039-9D07-F93DD25B4D0B}" dt="2022-04-26T12:30:29.101" v="63"/>
          <ac:spMkLst>
            <pc:docMk/>
            <pc:sldMk cId="2941554335" sldId="2140"/>
            <ac:spMk id="108" creationId="{212E23D1-49C4-4796-AD6C-5204787E838C}"/>
          </ac:spMkLst>
        </pc:spChg>
        <pc:grpChg chg="del">
          <ac:chgData name="Raimund Andrée" userId="0cf943988599aae0" providerId="LiveId" clId="{DD10C568-5F52-4039-9D07-F93DD25B4D0B}" dt="2022-04-26T12:30:28.238" v="62" actId="478"/>
          <ac:grpSpMkLst>
            <pc:docMk/>
            <pc:sldMk cId="2941554335" sldId="2140"/>
            <ac:grpSpMk id="35"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40"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46"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51"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57"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61"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65"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68" creationId="{00000000-0000-0000-0000-000000000000}"/>
          </ac:grpSpMkLst>
        </pc:grpChg>
        <pc:grpChg chg="add mod">
          <ac:chgData name="Raimund Andrée" userId="0cf943988599aae0" providerId="LiveId" clId="{DD10C568-5F52-4039-9D07-F93DD25B4D0B}" dt="2022-04-26T12:30:29.101" v="63"/>
          <ac:grpSpMkLst>
            <pc:docMk/>
            <pc:sldMk cId="2941554335" sldId="2140"/>
            <ac:grpSpMk id="77" creationId="{086FB05D-9E5C-4C9A-ACC3-BE09BAEB56A6}"/>
          </ac:grpSpMkLst>
        </pc:grpChg>
        <pc:grpChg chg="add mod">
          <ac:chgData name="Raimund Andrée" userId="0cf943988599aae0" providerId="LiveId" clId="{DD10C568-5F52-4039-9D07-F93DD25B4D0B}" dt="2022-04-26T12:30:29.101" v="63"/>
          <ac:grpSpMkLst>
            <pc:docMk/>
            <pc:sldMk cId="2941554335" sldId="2140"/>
            <ac:grpSpMk id="81" creationId="{CB167A96-1E43-4A59-9B50-04A4D694E878}"/>
          </ac:grpSpMkLst>
        </pc:grpChg>
        <pc:grpChg chg="add mod">
          <ac:chgData name="Raimund Andrée" userId="0cf943988599aae0" providerId="LiveId" clId="{DD10C568-5F52-4039-9D07-F93DD25B4D0B}" dt="2022-04-26T12:30:29.101" v="63"/>
          <ac:grpSpMkLst>
            <pc:docMk/>
            <pc:sldMk cId="2941554335" sldId="2140"/>
            <ac:grpSpMk id="85" creationId="{23BBFD17-F6BF-4A9E-9A8F-FCDA970968D8}"/>
          </ac:grpSpMkLst>
        </pc:grpChg>
        <pc:grpChg chg="add mod">
          <ac:chgData name="Raimund Andrée" userId="0cf943988599aae0" providerId="LiveId" clId="{DD10C568-5F52-4039-9D07-F93DD25B4D0B}" dt="2022-04-26T12:30:29.101" v="63"/>
          <ac:grpSpMkLst>
            <pc:docMk/>
            <pc:sldMk cId="2941554335" sldId="2140"/>
            <ac:grpSpMk id="89" creationId="{CF8F038E-64DC-4C5A-8D19-DF00CE74EA5C}"/>
          </ac:grpSpMkLst>
        </pc:grpChg>
        <pc:grpChg chg="add mod">
          <ac:chgData name="Raimund Andrée" userId="0cf943988599aae0" providerId="LiveId" clId="{DD10C568-5F52-4039-9D07-F93DD25B4D0B}" dt="2022-04-26T12:30:29.101" v="63"/>
          <ac:grpSpMkLst>
            <pc:docMk/>
            <pc:sldMk cId="2941554335" sldId="2140"/>
            <ac:grpSpMk id="92" creationId="{CBE36FBD-6C07-4117-8FC0-477B7ACFC20A}"/>
          </ac:grpSpMkLst>
        </pc:grpChg>
        <pc:grpChg chg="add mod">
          <ac:chgData name="Raimund Andrée" userId="0cf943988599aae0" providerId="LiveId" clId="{DD10C568-5F52-4039-9D07-F93DD25B4D0B}" dt="2022-04-26T12:30:29.101" v="63"/>
          <ac:grpSpMkLst>
            <pc:docMk/>
            <pc:sldMk cId="2941554335" sldId="2140"/>
            <ac:grpSpMk id="95" creationId="{8F7FE329-5720-43C6-9178-2CAC1572BDF8}"/>
          </ac:grpSpMkLst>
        </pc:grpChg>
        <pc:grpChg chg="add mod">
          <ac:chgData name="Raimund Andrée" userId="0cf943988599aae0" providerId="LiveId" clId="{DD10C568-5F52-4039-9D07-F93DD25B4D0B}" dt="2022-04-26T12:30:29.101" v="63"/>
          <ac:grpSpMkLst>
            <pc:docMk/>
            <pc:sldMk cId="2941554335" sldId="2140"/>
            <ac:grpSpMk id="98" creationId="{31E9DEBE-13CA-4552-AD78-BBBF72D88DAD}"/>
          </ac:grpSpMkLst>
        </pc:grpChg>
        <pc:grpChg chg="add mod">
          <ac:chgData name="Raimund Andrée" userId="0cf943988599aae0" providerId="LiveId" clId="{DD10C568-5F52-4039-9D07-F93DD25B4D0B}" dt="2022-04-26T12:30:29.101" v="63"/>
          <ac:grpSpMkLst>
            <pc:docMk/>
            <pc:sldMk cId="2941554335" sldId="2140"/>
            <ac:grpSpMk id="101" creationId="{95528813-6E67-49F1-AE6C-2BFAD1AA5773}"/>
          </ac:grpSpMkLst>
        </pc:grpChg>
        <pc:picChg chg="del mod">
          <ac:chgData name="Raimund Andrée" userId="0cf943988599aae0" providerId="LiveId" clId="{DD10C568-5F52-4039-9D07-F93DD25B4D0B}" dt="2022-04-26T12:30:28.238" v="62" actId="478"/>
          <ac:picMkLst>
            <pc:docMk/>
            <pc:sldMk cId="2941554335" sldId="2140"/>
            <ac:picMk id="33" creationId="{00000000-0000-0000-0000-000000000000}"/>
          </ac:picMkLst>
        </pc:picChg>
        <pc:picChg chg="del">
          <ac:chgData name="Raimund Andrée" userId="0cf943988599aae0" providerId="LiveId" clId="{DD10C568-5F52-4039-9D07-F93DD25B4D0B}" dt="2022-04-26T12:30:28.238" v="62" actId="478"/>
          <ac:picMkLst>
            <pc:docMk/>
            <pc:sldMk cId="2941554335" sldId="2140"/>
            <ac:picMk id="45" creationId="{00000000-0000-0000-0000-000000000000}"/>
          </ac:picMkLst>
        </pc:picChg>
        <pc:picChg chg="add mod">
          <ac:chgData name="Raimund Andrée" userId="0cf943988599aae0" providerId="LiveId" clId="{DD10C568-5F52-4039-9D07-F93DD25B4D0B}" dt="2022-04-26T12:30:29.101" v="63"/>
          <ac:picMkLst>
            <pc:docMk/>
            <pc:sldMk cId="2941554335" sldId="2140"/>
            <ac:picMk id="72" creationId="{538BA146-7460-40D6-AC55-D9A11FE48399}"/>
          </ac:picMkLst>
        </pc:picChg>
        <pc:picChg chg="mod">
          <ac:chgData name="Raimund Andrée" userId="0cf943988599aae0" providerId="LiveId" clId="{DD10C568-5F52-4039-9D07-F93DD25B4D0B}" dt="2022-04-26T12:30:29.101" v="63"/>
          <ac:picMkLst>
            <pc:docMk/>
            <pc:sldMk cId="2941554335" sldId="2140"/>
            <ac:picMk id="78" creationId="{7C394244-2395-40C4-B3FA-59F848493BB7}"/>
          </ac:picMkLst>
        </pc:picChg>
        <pc:picChg chg="mod">
          <ac:chgData name="Raimund Andrée" userId="0cf943988599aae0" providerId="LiveId" clId="{DD10C568-5F52-4039-9D07-F93DD25B4D0B}" dt="2022-04-26T12:30:29.101" v="63"/>
          <ac:picMkLst>
            <pc:docMk/>
            <pc:sldMk cId="2941554335" sldId="2140"/>
            <ac:picMk id="82" creationId="{64186905-BE47-4C07-9019-E5CFCDD120E6}"/>
          </ac:picMkLst>
        </pc:picChg>
        <pc:picChg chg="add mod">
          <ac:chgData name="Raimund Andrée" userId="0cf943988599aae0" providerId="LiveId" clId="{DD10C568-5F52-4039-9D07-F93DD25B4D0B}" dt="2022-04-26T12:30:29.101" v="63"/>
          <ac:picMkLst>
            <pc:docMk/>
            <pc:sldMk cId="2941554335" sldId="2140"/>
            <ac:picMk id="84" creationId="{A43AF53F-2BF1-4695-8990-FA35B64787A3}"/>
          </ac:picMkLst>
        </pc:picChg>
        <pc:picChg chg="mod">
          <ac:chgData name="Raimund Andrée" userId="0cf943988599aae0" providerId="LiveId" clId="{DD10C568-5F52-4039-9D07-F93DD25B4D0B}" dt="2022-04-26T12:30:29.101" v="63"/>
          <ac:picMkLst>
            <pc:docMk/>
            <pc:sldMk cId="2941554335" sldId="2140"/>
            <ac:picMk id="86" creationId="{42962774-1DED-4B05-B035-00053321F42A}"/>
          </ac:picMkLst>
        </pc:picChg>
        <pc:picChg chg="mod">
          <ac:chgData name="Raimund Andrée" userId="0cf943988599aae0" providerId="LiveId" clId="{DD10C568-5F52-4039-9D07-F93DD25B4D0B}" dt="2022-04-26T12:30:29.101" v="63"/>
          <ac:picMkLst>
            <pc:docMk/>
            <pc:sldMk cId="2941554335" sldId="2140"/>
            <ac:picMk id="87" creationId="{68AF0CE8-91A0-42F2-9CBD-D6171BDA0BA7}"/>
          </ac:picMkLst>
        </pc:picChg>
        <pc:picChg chg="mod">
          <ac:chgData name="Raimund Andrée" userId="0cf943988599aae0" providerId="LiveId" clId="{DD10C568-5F52-4039-9D07-F93DD25B4D0B}" dt="2022-04-26T12:30:29.101" v="63"/>
          <ac:picMkLst>
            <pc:docMk/>
            <pc:sldMk cId="2941554335" sldId="2140"/>
            <ac:picMk id="90" creationId="{B9A88240-C4EA-4A0D-ABEB-9E3A56464F2D}"/>
          </ac:picMkLst>
        </pc:picChg>
        <pc:picChg chg="mod">
          <ac:chgData name="Raimund Andrée" userId="0cf943988599aae0" providerId="LiveId" clId="{DD10C568-5F52-4039-9D07-F93DD25B4D0B}" dt="2022-04-26T12:30:29.101" v="63"/>
          <ac:picMkLst>
            <pc:docMk/>
            <pc:sldMk cId="2941554335" sldId="2140"/>
            <ac:picMk id="93" creationId="{543C652B-5C06-4969-A55A-9A5FC746F3A7}"/>
          </ac:picMkLst>
        </pc:picChg>
        <pc:picChg chg="mod">
          <ac:chgData name="Raimund Andrée" userId="0cf943988599aae0" providerId="LiveId" clId="{DD10C568-5F52-4039-9D07-F93DD25B4D0B}" dt="2022-04-26T12:30:29.101" v="63"/>
          <ac:picMkLst>
            <pc:docMk/>
            <pc:sldMk cId="2941554335" sldId="2140"/>
            <ac:picMk id="96" creationId="{6BE5A351-C663-4BAB-8816-78E252754ECC}"/>
          </ac:picMkLst>
        </pc:picChg>
        <pc:picChg chg="mod">
          <ac:chgData name="Raimund Andrée" userId="0cf943988599aae0" providerId="LiveId" clId="{DD10C568-5F52-4039-9D07-F93DD25B4D0B}" dt="2022-04-26T12:30:29.101" v="63"/>
          <ac:picMkLst>
            <pc:docMk/>
            <pc:sldMk cId="2941554335" sldId="2140"/>
            <ac:picMk id="99" creationId="{9374AAEF-5EFB-413C-9BDB-568DBE643448}"/>
          </ac:picMkLst>
        </pc:picChg>
        <pc:picChg chg="mod">
          <ac:chgData name="Raimund Andrée" userId="0cf943988599aae0" providerId="LiveId" clId="{DD10C568-5F52-4039-9D07-F93DD25B4D0B}" dt="2022-04-26T12:30:29.101" v="63"/>
          <ac:picMkLst>
            <pc:docMk/>
            <pc:sldMk cId="2941554335" sldId="2140"/>
            <ac:picMk id="102" creationId="{86D52DA8-D788-4E57-A749-0ABE1A2E1CF5}"/>
          </ac:picMkLst>
        </pc:picChg>
      </pc:sldChg>
      <pc:sldChg chg="del ord">
        <pc:chgData name="Raimund Andrée" userId="0cf943988599aae0" providerId="LiveId" clId="{DD10C568-5F52-4039-9D07-F93DD25B4D0B}" dt="2022-04-26T14:48:02.990" v="431" actId="47"/>
        <pc:sldMkLst>
          <pc:docMk/>
          <pc:sldMk cId="3752681306" sldId="2141"/>
        </pc:sldMkLst>
      </pc:sldChg>
      <pc:sldChg chg="del">
        <pc:chgData name="Raimund Andrée" userId="0cf943988599aae0" providerId="LiveId" clId="{DD10C568-5F52-4039-9D07-F93DD25B4D0B}" dt="2022-04-27T13:07:15.269" v="809" actId="47"/>
        <pc:sldMkLst>
          <pc:docMk/>
          <pc:sldMk cId="4083750556" sldId="2143"/>
        </pc:sldMkLst>
      </pc:sldChg>
      <pc:sldChg chg="modSp mod chgLayout">
        <pc:chgData name="Raimund Andrée" userId="0cf943988599aae0" providerId="LiveId" clId="{DD10C568-5F52-4039-9D07-F93DD25B4D0B}" dt="2022-04-26T15:12:38.197" v="759" actId="700"/>
        <pc:sldMkLst>
          <pc:docMk/>
          <pc:sldMk cId="160857806" sldId="2144"/>
        </pc:sldMkLst>
        <pc:spChg chg="mod ord">
          <ac:chgData name="Raimund Andrée" userId="0cf943988599aae0" providerId="LiveId" clId="{DD10C568-5F52-4039-9D07-F93DD25B4D0B}" dt="2022-04-26T15:12:38.197" v="759" actId="700"/>
          <ac:spMkLst>
            <pc:docMk/>
            <pc:sldMk cId="160857806" sldId="2144"/>
            <ac:spMk id="2" creationId="{49494CA9-6B0A-4D65-9C6C-D5642969DA9C}"/>
          </ac:spMkLst>
        </pc:spChg>
        <pc:spChg chg="mod ord">
          <ac:chgData name="Raimund Andrée" userId="0cf943988599aae0" providerId="LiveId" clId="{DD10C568-5F52-4039-9D07-F93DD25B4D0B}" dt="2022-04-26T15:12:38.197" v="759" actId="700"/>
          <ac:spMkLst>
            <pc:docMk/>
            <pc:sldMk cId="160857806" sldId="2144"/>
            <ac:spMk id="3" creationId="{5F969747-809E-48A6-A10B-E66407AC18D0}"/>
          </ac:spMkLst>
        </pc:spChg>
      </pc:sldChg>
      <pc:sldChg chg="del">
        <pc:chgData name="Raimund Andrée" userId="0cf943988599aae0" providerId="LiveId" clId="{DD10C568-5F52-4039-9D07-F93DD25B4D0B}" dt="2022-04-26T15:10:51.028" v="715" actId="47"/>
        <pc:sldMkLst>
          <pc:docMk/>
          <pc:sldMk cId="1962425318" sldId="2145"/>
        </pc:sldMkLst>
      </pc:sldChg>
      <pc:sldChg chg="modAnim">
        <pc:chgData name="Raimund Andrée" userId="0cf943988599aae0" providerId="LiveId" clId="{DD10C568-5F52-4039-9D07-F93DD25B4D0B}" dt="2022-04-26T15:13:22.917" v="760"/>
        <pc:sldMkLst>
          <pc:docMk/>
          <pc:sldMk cId="1319920306" sldId="2146"/>
        </pc:sldMkLst>
      </pc:sldChg>
      <pc:sldChg chg="modSp mod">
        <pc:chgData name="Raimund Andrée" userId="0cf943988599aae0" providerId="LiveId" clId="{DD10C568-5F52-4039-9D07-F93DD25B4D0B}" dt="2022-04-26T11:49:54.059" v="30" actId="20577"/>
        <pc:sldMkLst>
          <pc:docMk/>
          <pc:sldMk cId="4139719271" sldId="2147"/>
        </pc:sldMkLst>
        <pc:spChg chg="mod">
          <ac:chgData name="Raimund Andrée" userId="0cf943988599aae0" providerId="LiveId" clId="{DD10C568-5F52-4039-9D07-F93DD25B4D0B}" dt="2022-04-26T11:49:54.059" v="30" actId="20577"/>
          <ac:spMkLst>
            <pc:docMk/>
            <pc:sldMk cId="4139719271" sldId="2147"/>
            <ac:spMk id="2" creationId="{0CED1F24-0E42-4CEB-8F7B-D9267C83299F}"/>
          </ac:spMkLst>
        </pc:spChg>
      </pc:sldChg>
      <pc:sldChg chg="modSp mod">
        <pc:chgData name="Raimund Andrée" userId="0cf943988599aae0" providerId="LiveId" clId="{DD10C568-5F52-4039-9D07-F93DD25B4D0B}" dt="2022-04-26T11:50:30.278" v="36" actId="20577"/>
        <pc:sldMkLst>
          <pc:docMk/>
          <pc:sldMk cId="929821553" sldId="2151"/>
        </pc:sldMkLst>
        <pc:spChg chg="mod">
          <ac:chgData name="Raimund Andrée" userId="0cf943988599aae0" providerId="LiveId" clId="{DD10C568-5F52-4039-9D07-F93DD25B4D0B}" dt="2022-04-26T11:50:30.278" v="36" actId="20577"/>
          <ac:spMkLst>
            <pc:docMk/>
            <pc:sldMk cId="929821553" sldId="2151"/>
            <ac:spMk id="2" creationId="{0CED1F24-0E42-4CEB-8F7B-D9267C83299F}"/>
          </ac:spMkLst>
        </pc:spChg>
      </pc:sldChg>
      <pc:sldChg chg="add">
        <pc:chgData name="Raimund Andrée" userId="0cf943988599aae0" providerId="LiveId" clId="{DD10C568-5F52-4039-9D07-F93DD25B4D0B}" dt="2022-04-26T14:32:28.409" v="71"/>
        <pc:sldMkLst>
          <pc:docMk/>
          <pc:sldMk cId="3850739480" sldId="2152"/>
        </pc:sldMkLst>
      </pc:sldChg>
      <pc:sldChg chg="addSp delSp modSp new mod modAnim">
        <pc:chgData name="Raimund Andrée" userId="0cf943988599aae0" providerId="LiveId" clId="{DD10C568-5F52-4039-9D07-F93DD25B4D0B}" dt="2022-04-26T14:43:51.262" v="425" actId="478"/>
        <pc:sldMkLst>
          <pc:docMk/>
          <pc:sldMk cId="3330463018" sldId="2153"/>
        </pc:sldMkLst>
        <pc:spChg chg="mod">
          <ac:chgData name="Raimund Andrée" userId="0cf943988599aae0" providerId="LiveId" clId="{DD10C568-5F52-4039-9D07-F93DD25B4D0B}" dt="2022-04-26T14:43:48.169" v="424"/>
          <ac:spMkLst>
            <pc:docMk/>
            <pc:sldMk cId="3330463018" sldId="2153"/>
            <ac:spMk id="2" creationId="{36E784E9-0445-4531-B92F-2D4E69D540FD}"/>
          </ac:spMkLst>
        </pc:spChg>
        <pc:spChg chg="del">
          <ac:chgData name="Raimund Andrée" userId="0cf943988599aae0" providerId="LiveId" clId="{DD10C568-5F52-4039-9D07-F93DD25B4D0B}" dt="2022-04-26T14:43:51.262" v="425" actId="478"/>
          <ac:spMkLst>
            <pc:docMk/>
            <pc:sldMk cId="3330463018" sldId="2153"/>
            <ac:spMk id="3" creationId="{07ED2A6D-2559-4723-A515-8450D4B3AC4E}"/>
          </ac:spMkLst>
        </pc:spChg>
        <pc:spChg chg="add del mod">
          <ac:chgData name="Raimund Andrée" userId="0cf943988599aae0" providerId="LiveId" clId="{DD10C568-5F52-4039-9D07-F93DD25B4D0B}" dt="2022-04-26T14:43:47.046" v="423" actId="478"/>
          <ac:spMkLst>
            <pc:docMk/>
            <pc:sldMk cId="3330463018" sldId="2153"/>
            <ac:spMk id="4" creationId="{7D66368D-24C0-412C-837F-E8218428CA50}"/>
          </ac:spMkLst>
        </pc:spChg>
        <pc:spChg chg="add mod">
          <ac:chgData name="Raimund Andrée" userId="0cf943988599aae0" providerId="LiveId" clId="{DD10C568-5F52-4039-9D07-F93DD25B4D0B}" dt="2022-04-26T14:43:33.268" v="421"/>
          <ac:spMkLst>
            <pc:docMk/>
            <pc:sldMk cId="3330463018" sldId="2153"/>
            <ac:spMk id="5" creationId="{01DE25FA-9D77-49E2-A616-E121994A25E1}"/>
          </ac:spMkLst>
        </pc:spChg>
        <pc:spChg chg="add mod">
          <ac:chgData name="Raimund Andrée" userId="0cf943988599aae0" providerId="LiveId" clId="{DD10C568-5F52-4039-9D07-F93DD25B4D0B}" dt="2022-04-26T14:43:33.268" v="421"/>
          <ac:spMkLst>
            <pc:docMk/>
            <pc:sldMk cId="3330463018" sldId="2153"/>
            <ac:spMk id="6" creationId="{E1C3C28F-1274-4F2C-837C-66277D055E42}"/>
          </ac:spMkLst>
        </pc:spChg>
        <pc:spChg chg="add mod">
          <ac:chgData name="Raimund Andrée" userId="0cf943988599aae0" providerId="LiveId" clId="{DD10C568-5F52-4039-9D07-F93DD25B4D0B}" dt="2022-04-26T14:43:33.268" v="421"/>
          <ac:spMkLst>
            <pc:docMk/>
            <pc:sldMk cId="3330463018" sldId="2153"/>
            <ac:spMk id="10" creationId="{170EA3E5-C739-4BCC-8920-97A48A204B50}"/>
          </ac:spMkLst>
        </pc:spChg>
        <pc:spChg chg="add mod">
          <ac:chgData name="Raimund Andrée" userId="0cf943988599aae0" providerId="LiveId" clId="{DD10C568-5F52-4039-9D07-F93DD25B4D0B}" dt="2022-04-26T14:43:33.268" v="421"/>
          <ac:spMkLst>
            <pc:docMk/>
            <pc:sldMk cId="3330463018" sldId="2153"/>
            <ac:spMk id="11" creationId="{C87E9C8C-28EC-4C9B-813B-4FF33FEF942C}"/>
          </ac:spMkLst>
        </pc:spChg>
        <pc:spChg chg="add mod">
          <ac:chgData name="Raimund Andrée" userId="0cf943988599aae0" providerId="LiveId" clId="{DD10C568-5F52-4039-9D07-F93DD25B4D0B}" dt="2022-04-26T14:43:33.268" v="421"/>
          <ac:spMkLst>
            <pc:docMk/>
            <pc:sldMk cId="3330463018" sldId="2153"/>
            <ac:spMk id="12" creationId="{2F7E5F72-DA21-4905-A881-FFE814818C29}"/>
          </ac:spMkLst>
        </pc:spChg>
        <pc:picChg chg="add mod">
          <ac:chgData name="Raimund Andrée" userId="0cf943988599aae0" providerId="LiveId" clId="{DD10C568-5F52-4039-9D07-F93DD25B4D0B}" dt="2022-04-26T14:43:33.268" v="421"/>
          <ac:picMkLst>
            <pc:docMk/>
            <pc:sldMk cId="3330463018" sldId="2153"/>
            <ac:picMk id="7" creationId="{DF16A0BE-53CF-4BDD-9E51-6AF95F7241A1}"/>
          </ac:picMkLst>
        </pc:picChg>
        <pc:picChg chg="add mod">
          <ac:chgData name="Raimund Andrée" userId="0cf943988599aae0" providerId="LiveId" clId="{DD10C568-5F52-4039-9D07-F93DD25B4D0B}" dt="2022-04-26T14:43:33.268" v="421"/>
          <ac:picMkLst>
            <pc:docMk/>
            <pc:sldMk cId="3330463018" sldId="2153"/>
            <ac:picMk id="8" creationId="{93313F42-47B5-4EE0-9C52-01E8D6F38728}"/>
          </ac:picMkLst>
        </pc:picChg>
        <pc:picChg chg="add mod">
          <ac:chgData name="Raimund Andrée" userId="0cf943988599aae0" providerId="LiveId" clId="{DD10C568-5F52-4039-9D07-F93DD25B4D0B}" dt="2022-04-26T14:43:33.268" v="421"/>
          <ac:picMkLst>
            <pc:docMk/>
            <pc:sldMk cId="3330463018" sldId="2153"/>
            <ac:picMk id="9" creationId="{ED9C23EA-0896-4495-BC38-DA568E38B02F}"/>
          </ac:picMkLst>
        </pc:picChg>
      </pc:sldChg>
      <pc:sldChg chg="addSp delSp modSp new mod modAnim">
        <pc:chgData name="Raimund Andrée" userId="0cf943988599aae0" providerId="LiveId" clId="{DD10C568-5F52-4039-9D07-F93DD25B4D0B}" dt="2022-04-26T14:51:29.051" v="493" actId="1036"/>
        <pc:sldMkLst>
          <pc:docMk/>
          <pc:sldMk cId="1292974105" sldId="2154"/>
        </pc:sldMkLst>
        <pc:spChg chg="mod">
          <ac:chgData name="Raimund Andrée" userId="0cf943988599aae0" providerId="LiveId" clId="{DD10C568-5F52-4039-9D07-F93DD25B4D0B}" dt="2022-04-26T14:51:24.521" v="472" actId="20577"/>
          <ac:spMkLst>
            <pc:docMk/>
            <pc:sldMk cId="1292974105" sldId="2154"/>
            <ac:spMk id="2" creationId="{16B5AAAF-CB5E-4922-9492-BDDE4E5897B1}"/>
          </ac:spMkLst>
        </pc:spChg>
        <pc:spChg chg="del">
          <ac:chgData name="Raimund Andrée" userId="0cf943988599aae0" providerId="LiveId" clId="{DD10C568-5F52-4039-9D07-F93DD25B4D0B}" dt="2022-04-26T14:50:51.698" v="440" actId="478"/>
          <ac:spMkLst>
            <pc:docMk/>
            <pc:sldMk cId="1292974105" sldId="2154"/>
            <ac:spMk id="3" creationId="{BF61D7D4-2226-4D5F-B03F-3E97985CB778}"/>
          </ac:spMkLst>
        </pc:spChg>
        <pc:spChg chg="add mod">
          <ac:chgData name="Raimund Andrée" userId="0cf943988599aae0" providerId="LiveId" clId="{DD10C568-5F52-4039-9D07-F93DD25B4D0B}" dt="2022-04-26T14:51:29.051" v="493" actId="1036"/>
          <ac:spMkLst>
            <pc:docMk/>
            <pc:sldMk cId="1292974105" sldId="2154"/>
            <ac:spMk id="4" creationId="{989A2791-0B74-40AC-904D-E7BFA67EADDA}"/>
          </ac:spMkLst>
        </pc:spChg>
        <pc:spChg chg="mod">
          <ac:chgData name="Raimund Andrée" userId="0cf943988599aae0" providerId="LiveId" clId="{DD10C568-5F52-4039-9D07-F93DD25B4D0B}" dt="2022-04-26T14:46:51.908" v="429"/>
          <ac:spMkLst>
            <pc:docMk/>
            <pc:sldMk cId="1292974105" sldId="2154"/>
            <ac:spMk id="10" creationId="{3D0D1537-449A-429D-A466-418565FCA889}"/>
          </ac:spMkLst>
        </pc:spChg>
        <pc:spChg chg="mod">
          <ac:chgData name="Raimund Andrée" userId="0cf943988599aae0" providerId="LiveId" clId="{DD10C568-5F52-4039-9D07-F93DD25B4D0B}" dt="2022-04-26T14:46:51.908" v="429"/>
          <ac:spMkLst>
            <pc:docMk/>
            <pc:sldMk cId="1292974105" sldId="2154"/>
            <ac:spMk id="11" creationId="{0B29EE4E-2071-4C22-8A6F-500B2992948F}"/>
          </ac:spMkLst>
        </pc:spChg>
        <pc:spChg chg="mod">
          <ac:chgData name="Raimund Andrée" userId="0cf943988599aae0" providerId="LiveId" clId="{DD10C568-5F52-4039-9D07-F93DD25B4D0B}" dt="2022-04-26T14:46:51.908" v="429"/>
          <ac:spMkLst>
            <pc:docMk/>
            <pc:sldMk cId="1292974105" sldId="2154"/>
            <ac:spMk id="13" creationId="{50D236B1-91BC-441D-A570-74241E966783}"/>
          </ac:spMkLst>
        </pc:spChg>
        <pc:spChg chg="mod">
          <ac:chgData name="Raimund Andrée" userId="0cf943988599aae0" providerId="LiveId" clId="{DD10C568-5F52-4039-9D07-F93DD25B4D0B}" dt="2022-04-26T14:46:51.908" v="429"/>
          <ac:spMkLst>
            <pc:docMk/>
            <pc:sldMk cId="1292974105" sldId="2154"/>
            <ac:spMk id="14" creationId="{CFE4D84E-A14E-41E4-BC1E-F03970A782A3}"/>
          </ac:spMkLst>
        </pc:spChg>
        <pc:spChg chg="mod">
          <ac:chgData name="Raimund Andrée" userId="0cf943988599aae0" providerId="LiveId" clId="{DD10C568-5F52-4039-9D07-F93DD25B4D0B}" dt="2022-04-26T14:46:51.908" v="429"/>
          <ac:spMkLst>
            <pc:docMk/>
            <pc:sldMk cId="1292974105" sldId="2154"/>
            <ac:spMk id="16" creationId="{051FC15A-AFC8-4ABC-949E-7E37681B57E1}"/>
          </ac:spMkLst>
        </pc:spChg>
        <pc:spChg chg="mod">
          <ac:chgData name="Raimund Andrée" userId="0cf943988599aae0" providerId="LiveId" clId="{DD10C568-5F52-4039-9D07-F93DD25B4D0B}" dt="2022-04-26T14:46:51.908" v="429"/>
          <ac:spMkLst>
            <pc:docMk/>
            <pc:sldMk cId="1292974105" sldId="2154"/>
            <ac:spMk id="17" creationId="{EC87E924-5053-4FAF-9F1B-4C87C0CB0EE1}"/>
          </ac:spMkLst>
        </pc:spChg>
        <pc:spChg chg="add mod">
          <ac:chgData name="Raimund Andrée" userId="0cf943988599aae0" providerId="LiveId" clId="{DD10C568-5F52-4039-9D07-F93DD25B4D0B}" dt="2022-04-26T14:46:51.908" v="429"/>
          <ac:spMkLst>
            <pc:docMk/>
            <pc:sldMk cId="1292974105" sldId="2154"/>
            <ac:spMk id="20" creationId="{F5F3A568-0377-4159-91BD-7B4837E0D40E}"/>
          </ac:spMkLst>
        </pc:spChg>
        <pc:grpChg chg="add mod">
          <ac:chgData name="Raimund Andrée" userId="0cf943988599aae0" providerId="LiveId" clId="{DD10C568-5F52-4039-9D07-F93DD25B4D0B}" dt="2022-04-26T14:46:51.908" v="429"/>
          <ac:grpSpMkLst>
            <pc:docMk/>
            <pc:sldMk cId="1292974105" sldId="2154"/>
            <ac:grpSpMk id="9" creationId="{A79A21ED-7A1C-4998-8C93-22C77E3A344C}"/>
          </ac:grpSpMkLst>
        </pc:grpChg>
        <pc:grpChg chg="add mod">
          <ac:chgData name="Raimund Andrée" userId="0cf943988599aae0" providerId="LiveId" clId="{DD10C568-5F52-4039-9D07-F93DD25B4D0B}" dt="2022-04-26T14:46:51.908" v="429"/>
          <ac:grpSpMkLst>
            <pc:docMk/>
            <pc:sldMk cId="1292974105" sldId="2154"/>
            <ac:grpSpMk id="12" creationId="{995A81A1-5D12-4EA3-9D63-D6BC2633818D}"/>
          </ac:grpSpMkLst>
        </pc:grpChg>
        <pc:grpChg chg="add mod">
          <ac:chgData name="Raimund Andrée" userId="0cf943988599aae0" providerId="LiveId" clId="{DD10C568-5F52-4039-9D07-F93DD25B4D0B}" dt="2022-04-26T14:46:51.908" v="429"/>
          <ac:grpSpMkLst>
            <pc:docMk/>
            <pc:sldMk cId="1292974105" sldId="2154"/>
            <ac:grpSpMk id="15" creationId="{DB5A6332-21D3-442B-8B52-B878EAA9576D}"/>
          </ac:grpSpMkLst>
        </pc:grpChg>
        <pc:picChg chg="add mod">
          <ac:chgData name="Raimund Andrée" userId="0cf943988599aae0" providerId="LiveId" clId="{DD10C568-5F52-4039-9D07-F93DD25B4D0B}" dt="2022-04-26T14:46:51.908" v="429"/>
          <ac:picMkLst>
            <pc:docMk/>
            <pc:sldMk cId="1292974105" sldId="2154"/>
            <ac:picMk id="5" creationId="{2EBD7979-7AC2-46F7-87A3-31419D6FCAB3}"/>
          </ac:picMkLst>
        </pc:picChg>
        <pc:picChg chg="add mod">
          <ac:chgData name="Raimund Andrée" userId="0cf943988599aae0" providerId="LiveId" clId="{DD10C568-5F52-4039-9D07-F93DD25B4D0B}" dt="2022-04-26T14:46:51.908" v="429"/>
          <ac:picMkLst>
            <pc:docMk/>
            <pc:sldMk cId="1292974105" sldId="2154"/>
            <ac:picMk id="6" creationId="{F2635096-C24F-4C55-8F43-F98F1582E81B}"/>
          </ac:picMkLst>
        </pc:picChg>
        <pc:picChg chg="add mod">
          <ac:chgData name="Raimund Andrée" userId="0cf943988599aae0" providerId="LiveId" clId="{DD10C568-5F52-4039-9D07-F93DD25B4D0B}" dt="2022-04-26T14:46:51.908" v="429"/>
          <ac:picMkLst>
            <pc:docMk/>
            <pc:sldMk cId="1292974105" sldId="2154"/>
            <ac:picMk id="7" creationId="{5725C396-A3A0-4C13-A0C0-BA4DB139D1FD}"/>
          </ac:picMkLst>
        </pc:picChg>
        <pc:picChg chg="add mod">
          <ac:chgData name="Raimund Andrée" userId="0cf943988599aae0" providerId="LiveId" clId="{DD10C568-5F52-4039-9D07-F93DD25B4D0B}" dt="2022-04-26T14:46:51.908" v="429"/>
          <ac:picMkLst>
            <pc:docMk/>
            <pc:sldMk cId="1292974105" sldId="2154"/>
            <ac:picMk id="8" creationId="{3FCB3FBC-53B0-4993-8639-0CA3590B870E}"/>
          </ac:picMkLst>
        </pc:picChg>
        <pc:picChg chg="add mod">
          <ac:chgData name="Raimund Andrée" userId="0cf943988599aae0" providerId="LiveId" clId="{DD10C568-5F52-4039-9D07-F93DD25B4D0B}" dt="2022-04-26T14:46:51.908" v="429"/>
          <ac:picMkLst>
            <pc:docMk/>
            <pc:sldMk cId="1292974105" sldId="2154"/>
            <ac:picMk id="18" creationId="{F2BA1346-0A1A-48DB-89FE-AD43D4DA9CFA}"/>
          </ac:picMkLst>
        </pc:picChg>
        <pc:picChg chg="add mod">
          <ac:chgData name="Raimund Andrée" userId="0cf943988599aae0" providerId="LiveId" clId="{DD10C568-5F52-4039-9D07-F93DD25B4D0B}" dt="2022-04-26T14:46:51.908" v="429"/>
          <ac:picMkLst>
            <pc:docMk/>
            <pc:sldMk cId="1292974105" sldId="2154"/>
            <ac:picMk id="19" creationId="{43608186-795D-480E-A4BE-E10798D2E817}"/>
          </ac:picMkLst>
        </pc:picChg>
      </pc:sldChg>
      <pc:sldChg chg="addSp delSp modSp new mod modAnim">
        <pc:chgData name="Raimund Andrée" userId="0cf943988599aae0" providerId="LiveId" clId="{DD10C568-5F52-4039-9D07-F93DD25B4D0B}" dt="2022-04-26T14:54:10.898" v="518" actId="1036"/>
        <pc:sldMkLst>
          <pc:docMk/>
          <pc:sldMk cId="4192831544" sldId="2155"/>
        </pc:sldMkLst>
        <pc:spChg chg="mod">
          <ac:chgData name="Raimund Andrée" userId="0cf943988599aae0" providerId="LiveId" clId="{DD10C568-5F52-4039-9D07-F93DD25B4D0B}" dt="2022-04-26T14:53:49.837" v="499"/>
          <ac:spMkLst>
            <pc:docMk/>
            <pc:sldMk cId="4192831544" sldId="2155"/>
            <ac:spMk id="2" creationId="{E00E4BB1-2517-453E-8945-EEF79FC23B14}"/>
          </ac:spMkLst>
        </pc:spChg>
        <pc:spChg chg="del">
          <ac:chgData name="Raimund Andrée" userId="0cf943988599aae0" providerId="LiveId" clId="{DD10C568-5F52-4039-9D07-F93DD25B4D0B}" dt="2022-04-26T14:53:52.601" v="500" actId="478"/>
          <ac:spMkLst>
            <pc:docMk/>
            <pc:sldMk cId="4192831544" sldId="2155"/>
            <ac:spMk id="3" creationId="{59CFE817-AF0B-4170-B561-DD29C857A7C2}"/>
          </ac:spMkLst>
        </pc:spChg>
        <pc:spChg chg="add mod">
          <ac:chgData name="Raimund Andrée" userId="0cf943988599aae0" providerId="LiveId" clId="{DD10C568-5F52-4039-9D07-F93DD25B4D0B}" dt="2022-04-26T14:53:47.751" v="496" actId="21"/>
          <ac:spMkLst>
            <pc:docMk/>
            <pc:sldMk cId="4192831544" sldId="2155"/>
            <ac:spMk id="4" creationId="{848902F6-B0D8-44D3-A504-FB7836B82F86}"/>
          </ac:spMkLst>
        </pc:spChg>
        <pc:spChg chg="mod">
          <ac:chgData name="Raimund Andrée" userId="0cf943988599aae0" providerId="LiveId" clId="{DD10C568-5F52-4039-9D07-F93DD25B4D0B}" dt="2022-04-26T14:53:44.049" v="495"/>
          <ac:spMkLst>
            <pc:docMk/>
            <pc:sldMk cId="4192831544" sldId="2155"/>
            <ac:spMk id="10" creationId="{2C90E2A4-1068-42A4-A601-43FDDFD61544}"/>
          </ac:spMkLst>
        </pc:spChg>
        <pc:spChg chg="mod">
          <ac:chgData name="Raimund Andrée" userId="0cf943988599aae0" providerId="LiveId" clId="{DD10C568-5F52-4039-9D07-F93DD25B4D0B}" dt="2022-04-26T14:53:44.049" v="495"/>
          <ac:spMkLst>
            <pc:docMk/>
            <pc:sldMk cId="4192831544" sldId="2155"/>
            <ac:spMk id="11" creationId="{987362AC-4B57-442A-9E02-FC1EF4A388B7}"/>
          </ac:spMkLst>
        </pc:spChg>
        <pc:spChg chg="mod">
          <ac:chgData name="Raimund Andrée" userId="0cf943988599aae0" providerId="LiveId" clId="{DD10C568-5F52-4039-9D07-F93DD25B4D0B}" dt="2022-04-26T14:53:44.049" v="495"/>
          <ac:spMkLst>
            <pc:docMk/>
            <pc:sldMk cId="4192831544" sldId="2155"/>
            <ac:spMk id="13" creationId="{9843B42E-9AC9-4F30-AF4E-E9FA76378DBD}"/>
          </ac:spMkLst>
        </pc:spChg>
        <pc:spChg chg="mod">
          <ac:chgData name="Raimund Andrée" userId="0cf943988599aae0" providerId="LiveId" clId="{DD10C568-5F52-4039-9D07-F93DD25B4D0B}" dt="2022-04-26T14:53:44.049" v="495"/>
          <ac:spMkLst>
            <pc:docMk/>
            <pc:sldMk cId="4192831544" sldId="2155"/>
            <ac:spMk id="14" creationId="{10B2EB11-9C11-4716-BA2E-BB3F30364C0D}"/>
          </ac:spMkLst>
        </pc:spChg>
        <pc:spChg chg="mod">
          <ac:chgData name="Raimund Andrée" userId="0cf943988599aae0" providerId="LiveId" clId="{DD10C568-5F52-4039-9D07-F93DD25B4D0B}" dt="2022-04-26T14:53:44.049" v="495"/>
          <ac:spMkLst>
            <pc:docMk/>
            <pc:sldMk cId="4192831544" sldId="2155"/>
            <ac:spMk id="16" creationId="{8FDDF8BB-4D22-4ECC-B40D-CBC0937976AE}"/>
          </ac:spMkLst>
        </pc:spChg>
        <pc:spChg chg="mod">
          <ac:chgData name="Raimund Andrée" userId="0cf943988599aae0" providerId="LiveId" clId="{DD10C568-5F52-4039-9D07-F93DD25B4D0B}" dt="2022-04-26T14:53:44.049" v="495"/>
          <ac:spMkLst>
            <pc:docMk/>
            <pc:sldMk cId="4192831544" sldId="2155"/>
            <ac:spMk id="17" creationId="{A412D703-DBE0-405F-A8CB-1CF6B6A4F7D3}"/>
          </ac:spMkLst>
        </pc:spChg>
        <pc:spChg chg="add mod">
          <ac:chgData name="Raimund Andrée" userId="0cf943988599aae0" providerId="LiveId" clId="{DD10C568-5F52-4039-9D07-F93DD25B4D0B}" dt="2022-04-26T14:54:07.242" v="502" actId="14100"/>
          <ac:spMkLst>
            <pc:docMk/>
            <pc:sldMk cId="4192831544" sldId="2155"/>
            <ac:spMk id="20" creationId="{3E11DE64-3C45-48E6-9B92-D5A59755F75C}"/>
          </ac:spMkLst>
        </pc:spChg>
        <pc:spChg chg="mod">
          <ac:chgData name="Raimund Andrée" userId="0cf943988599aae0" providerId="LiveId" clId="{DD10C568-5F52-4039-9D07-F93DD25B4D0B}" dt="2022-04-26T14:53:44.049" v="495"/>
          <ac:spMkLst>
            <pc:docMk/>
            <pc:sldMk cId="4192831544" sldId="2155"/>
            <ac:spMk id="26" creationId="{D560F066-5CFD-4731-9D4E-04BEE6804FBF}"/>
          </ac:spMkLst>
        </pc:spChg>
        <pc:spChg chg="mod">
          <ac:chgData name="Raimund Andrée" userId="0cf943988599aae0" providerId="LiveId" clId="{DD10C568-5F52-4039-9D07-F93DD25B4D0B}" dt="2022-04-26T14:53:44.049" v="495"/>
          <ac:spMkLst>
            <pc:docMk/>
            <pc:sldMk cId="4192831544" sldId="2155"/>
            <ac:spMk id="33" creationId="{48E82BA6-4662-469A-B63F-290DD4C0605C}"/>
          </ac:spMkLst>
        </pc:spChg>
        <pc:spChg chg="mod">
          <ac:chgData name="Raimund Andrée" userId="0cf943988599aae0" providerId="LiveId" clId="{DD10C568-5F52-4039-9D07-F93DD25B4D0B}" dt="2022-04-26T14:53:44.049" v="495"/>
          <ac:spMkLst>
            <pc:docMk/>
            <pc:sldMk cId="4192831544" sldId="2155"/>
            <ac:spMk id="34" creationId="{01EB349B-0B15-4363-A1FE-A9116DD39E34}"/>
          </ac:spMkLst>
        </pc:spChg>
        <pc:spChg chg="mod">
          <ac:chgData name="Raimund Andrée" userId="0cf943988599aae0" providerId="LiveId" clId="{DD10C568-5F52-4039-9D07-F93DD25B4D0B}" dt="2022-04-26T14:53:44.049" v="495"/>
          <ac:spMkLst>
            <pc:docMk/>
            <pc:sldMk cId="4192831544" sldId="2155"/>
            <ac:spMk id="35" creationId="{CC2B0647-BE0E-4450-8C19-BCE840DD35ED}"/>
          </ac:spMkLst>
        </pc:spChg>
        <pc:spChg chg="mod">
          <ac:chgData name="Raimund Andrée" userId="0cf943988599aae0" providerId="LiveId" clId="{DD10C568-5F52-4039-9D07-F93DD25B4D0B}" dt="2022-04-26T14:53:44.049" v="495"/>
          <ac:spMkLst>
            <pc:docMk/>
            <pc:sldMk cId="4192831544" sldId="2155"/>
            <ac:spMk id="36" creationId="{D54FA984-D7E2-4B76-B3E0-5A88C4BBB4AB}"/>
          </ac:spMkLst>
        </pc:spChg>
        <pc:grpChg chg="add mod">
          <ac:chgData name="Raimund Andrée" userId="0cf943988599aae0" providerId="LiveId" clId="{DD10C568-5F52-4039-9D07-F93DD25B4D0B}" dt="2022-04-26T14:53:59.568" v="501" actId="1076"/>
          <ac:grpSpMkLst>
            <pc:docMk/>
            <pc:sldMk cId="4192831544" sldId="2155"/>
            <ac:grpSpMk id="9" creationId="{07BE87AE-2B9F-4813-B47A-11AD1729B627}"/>
          </ac:grpSpMkLst>
        </pc:grpChg>
        <pc:grpChg chg="add mod">
          <ac:chgData name="Raimund Andrée" userId="0cf943988599aae0" providerId="LiveId" clId="{DD10C568-5F52-4039-9D07-F93DD25B4D0B}" dt="2022-04-26T14:53:59.568" v="501" actId="1076"/>
          <ac:grpSpMkLst>
            <pc:docMk/>
            <pc:sldMk cId="4192831544" sldId="2155"/>
            <ac:grpSpMk id="12" creationId="{A7372081-DF9D-4E5E-B96B-C3A8031E6B0A}"/>
          </ac:grpSpMkLst>
        </pc:grpChg>
        <pc:grpChg chg="add mod">
          <ac:chgData name="Raimund Andrée" userId="0cf943988599aae0" providerId="LiveId" clId="{DD10C568-5F52-4039-9D07-F93DD25B4D0B}" dt="2022-04-26T14:53:59.568" v="501" actId="1076"/>
          <ac:grpSpMkLst>
            <pc:docMk/>
            <pc:sldMk cId="4192831544" sldId="2155"/>
            <ac:grpSpMk id="15" creationId="{AC8BE46F-07D6-4CC4-A11D-EB87E11EA3F7}"/>
          </ac:grpSpMkLst>
        </pc:grpChg>
        <pc:grpChg chg="add mod">
          <ac:chgData name="Raimund Andrée" userId="0cf943988599aae0" providerId="LiveId" clId="{DD10C568-5F52-4039-9D07-F93DD25B4D0B}" dt="2022-04-26T14:54:10.898" v="518" actId="1036"/>
          <ac:grpSpMkLst>
            <pc:docMk/>
            <pc:sldMk cId="4192831544" sldId="2155"/>
            <ac:grpSpMk id="21" creationId="{53B66FD3-A120-4845-8501-EB52F500D089}"/>
          </ac:grpSpMkLst>
        </pc:grpChg>
        <pc:grpChg chg="mod">
          <ac:chgData name="Raimund Andrée" userId="0cf943988599aae0" providerId="LiveId" clId="{DD10C568-5F52-4039-9D07-F93DD25B4D0B}" dt="2022-04-26T14:53:44.049" v="495"/>
          <ac:grpSpMkLst>
            <pc:docMk/>
            <pc:sldMk cId="4192831544" sldId="2155"/>
            <ac:grpSpMk id="25" creationId="{195AA75F-F64F-4F8C-BD1F-6F2414F067EE}"/>
          </ac:grpSpMkLst>
        </pc:grpChg>
        <pc:picChg chg="add mod">
          <ac:chgData name="Raimund Andrée" userId="0cf943988599aae0" providerId="LiveId" clId="{DD10C568-5F52-4039-9D07-F93DD25B4D0B}" dt="2022-04-26T14:53:59.568" v="501" actId="1076"/>
          <ac:picMkLst>
            <pc:docMk/>
            <pc:sldMk cId="4192831544" sldId="2155"/>
            <ac:picMk id="5" creationId="{89F2A91B-393E-4F4B-BC08-E186C0AF4B38}"/>
          </ac:picMkLst>
        </pc:picChg>
        <pc:picChg chg="add mod">
          <ac:chgData name="Raimund Andrée" userId="0cf943988599aae0" providerId="LiveId" clId="{DD10C568-5F52-4039-9D07-F93DD25B4D0B}" dt="2022-04-26T14:53:59.568" v="501" actId="1076"/>
          <ac:picMkLst>
            <pc:docMk/>
            <pc:sldMk cId="4192831544" sldId="2155"/>
            <ac:picMk id="6" creationId="{08E70F78-CE13-4512-999E-4E0A7FA511E3}"/>
          </ac:picMkLst>
        </pc:picChg>
        <pc:picChg chg="add mod">
          <ac:chgData name="Raimund Andrée" userId="0cf943988599aae0" providerId="LiveId" clId="{DD10C568-5F52-4039-9D07-F93DD25B4D0B}" dt="2022-04-26T14:53:59.568" v="501" actId="1076"/>
          <ac:picMkLst>
            <pc:docMk/>
            <pc:sldMk cId="4192831544" sldId="2155"/>
            <ac:picMk id="7" creationId="{42A33555-A09F-4401-9102-F375BFDE9609}"/>
          </ac:picMkLst>
        </pc:picChg>
        <pc:picChg chg="add mod">
          <ac:chgData name="Raimund Andrée" userId="0cf943988599aae0" providerId="LiveId" clId="{DD10C568-5F52-4039-9D07-F93DD25B4D0B}" dt="2022-04-26T14:53:59.568" v="501" actId="1076"/>
          <ac:picMkLst>
            <pc:docMk/>
            <pc:sldMk cId="4192831544" sldId="2155"/>
            <ac:picMk id="8" creationId="{619686C7-2A6D-446A-886F-B986F04C4646}"/>
          </ac:picMkLst>
        </pc:picChg>
        <pc:picChg chg="add mod">
          <ac:chgData name="Raimund Andrée" userId="0cf943988599aae0" providerId="LiveId" clId="{DD10C568-5F52-4039-9D07-F93DD25B4D0B}" dt="2022-04-26T14:53:59.568" v="501" actId="1076"/>
          <ac:picMkLst>
            <pc:docMk/>
            <pc:sldMk cId="4192831544" sldId="2155"/>
            <ac:picMk id="18" creationId="{2D19E1EC-375F-4805-82C6-C3FAB8393BE8}"/>
          </ac:picMkLst>
        </pc:picChg>
        <pc:picChg chg="add mod">
          <ac:chgData name="Raimund Andrée" userId="0cf943988599aae0" providerId="LiveId" clId="{DD10C568-5F52-4039-9D07-F93DD25B4D0B}" dt="2022-04-26T14:53:59.568" v="501" actId="1076"/>
          <ac:picMkLst>
            <pc:docMk/>
            <pc:sldMk cId="4192831544" sldId="2155"/>
            <ac:picMk id="19" creationId="{2825E54B-C939-4F7B-9669-A6EE037764F9}"/>
          </ac:picMkLst>
        </pc:picChg>
        <pc:picChg chg="mod">
          <ac:chgData name="Raimund Andrée" userId="0cf943988599aae0" providerId="LiveId" clId="{DD10C568-5F52-4039-9D07-F93DD25B4D0B}" dt="2022-04-26T14:53:44.049" v="495"/>
          <ac:picMkLst>
            <pc:docMk/>
            <pc:sldMk cId="4192831544" sldId="2155"/>
            <ac:picMk id="22" creationId="{9948D905-6DC4-42F0-920B-267ED1AD8B85}"/>
          </ac:picMkLst>
        </pc:picChg>
        <pc:picChg chg="mod">
          <ac:chgData name="Raimund Andrée" userId="0cf943988599aae0" providerId="LiveId" clId="{DD10C568-5F52-4039-9D07-F93DD25B4D0B}" dt="2022-04-26T14:53:44.049" v="495"/>
          <ac:picMkLst>
            <pc:docMk/>
            <pc:sldMk cId="4192831544" sldId="2155"/>
            <ac:picMk id="23" creationId="{05EADC83-7F13-473A-93A0-964C404EAB37}"/>
          </ac:picMkLst>
        </pc:picChg>
        <pc:picChg chg="mod">
          <ac:chgData name="Raimund Andrée" userId="0cf943988599aae0" providerId="LiveId" clId="{DD10C568-5F52-4039-9D07-F93DD25B4D0B}" dt="2022-04-26T14:53:44.049" v="495"/>
          <ac:picMkLst>
            <pc:docMk/>
            <pc:sldMk cId="4192831544" sldId="2155"/>
            <ac:picMk id="24" creationId="{7EE691AB-B7D4-431B-B2A7-18BCBD1E5F3B}"/>
          </ac:picMkLst>
        </pc:picChg>
        <pc:picChg chg="mod">
          <ac:chgData name="Raimund Andrée" userId="0cf943988599aae0" providerId="LiveId" clId="{DD10C568-5F52-4039-9D07-F93DD25B4D0B}" dt="2022-04-26T14:53:44.049" v="495"/>
          <ac:picMkLst>
            <pc:docMk/>
            <pc:sldMk cId="4192831544" sldId="2155"/>
            <ac:picMk id="27" creationId="{3D85E202-A86C-488B-810B-2852E88E9886}"/>
          </ac:picMkLst>
        </pc:picChg>
        <pc:picChg chg="mod">
          <ac:chgData name="Raimund Andrée" userId="0cf943988599aae0" providerId="LiveId" clId="{DD10C568-5F52-4039-9D07-F93DD25B4D0B}" dt="2022-04-26T14:53:44.049" v="495"/>
          <ac:picMkLst>
            <pc:docMk/>
            <pc:sldMk cId="4192831544" sldId="2155"/>
            <ac:picMk id="28" creationId="{1EB67640-7202-4646-8DA5-78CE34FDAE04}"/>
          </ac:picMkLst>
        </pc:picChg>
        <pc:picChg chg="mod">
          <ac:chgData name="Raimund Andrée" userId="0cf943988599aae0" providerId="LiveId" clId="{DD10C568-5F52-4039-9D07-F93DD25B4D0B}" dt="2022-04-26T14:53:44.049" v="495"/>
          <ac:picMkLst>
            <pc:docMk/>
            <pc:sldMk cId="4192831544" sldId="2155"/>
            <ac:picMk id="29" creationId="{43A1B005-83C2-4199-B4F4-73F16C9A91B4}"/>
          </ac:picMkLst>
        </pc:picChg>
        <pc:picChg chg="mod">
          <ac:chgData name="Raimund Andrée" userId="0cf943988599aae0" providerId="LiveId" clId="{DD10C568-5F52-4039-9D07-F93DD25B4D0B}" dt="2022-04-26T14:53:44.049" v="495"/>
          <ac:picMkLst>
            <pc:docMk/>
            <pc:sldMk cId="4192831544" sldId="2155"/>
            <ac:picMk id="30" creationId="{A0F08AA3-3D9B-40FE-9E65-EE4F88F1E01D}"/>
          </ac:picMkLst>
        </pc:picChg>
        <pc:cxnChg chg="mod">
          <ac:chgData name="Raimund Andrée" userId="0cf943988599aae0" providerId="LiveId" clId="{DD10C568-5F52-4039-9D07-F93DD25B4D0B}" dt="2022-04-26T14:53:44.049" v="495"/>
          <ac:cxnSpMkLst>
            <pc:docMk/>
            <pc:sldMk cId="4192831544" sldId="2155"/>
            <ac:cxnSpMk id="31" creationId="{BBE6E984-1D27-4891-A0C8-1BBC3DCBD945}"/>
          </ac:cxnSpMkLst>
        </pc:cxnChg>
        <pc:cxnChg chg="mod">
          <ac:chgData name="Raimund Andrée" userId="0cf943988599aae0" providerId="LiveId" clId="{DD10C568-5F52-4039-9D07-F93DD25B4D0B}" dt="2022-04-26T14:53:44.049" v="495"/>
          <ac:cxnSpMkLst>
            <pc:docMk/>
            <pc:sldMk cId="4192831544" sldId="2155"/>
            <ac:cxnSpMk id="32" creationId="{CCC831C7-7B1E-4412-A815-F7F93D1EDD0B}"/>
          </ac:cxnSpMkLst>
        </pc:cxnChg>
      </pc:sldChg>
      <pc:sldChg chg="addSp delSp modSp new mod modAnim">
        <pc:chgData name="Raimund Andrée" userId="0cf943988599aae0" providerId="LiveId" clId="{DD10C568-5F52-4039-9D07-F93DD25B4D0B}" dt="2022-04-26T14:56:21.914" v="528" actId="1076"/>
        <pc:sldMkLst>
          <pc:docMk/>
          <pc:sldMk cId="3767900774" sldId="2156"/>
        </pc:sldMkLst>
        <pc:spChg chg="mod">
          <ac:chgData name="Raimund Andrée" userId="0cf943988599aae0" providerId="LiveId" clId="{DD10C568-5F52-4039-9D07-F93DD25B4D0B}" dt="2022-04-26T14:56:12.434" v="526"/>
          <ac:spMkLst>
            <pc:docMk/>
            <pc:sldMk cId="3767900774" sldId="2156"/>
            <ac:spMk id="2" creationId="{1ACB22A6-5ABB-4756-AD3C-5C2EA5FF10BC}"/>
          </ac:spMkLst>
        </pc:spChg>
        <pc:spChg chg="del">
          <ac:chgData name="Raimund Andrée" userId="0cf943988599aae0" providerId="LiveId" clId="{DD10C568-5F52-4039-9D07-F93DD25B4D0B}" dt="2022-04-26T14:56:14.475" v="527" actId="478"/>
          <ac:spMkLst>
            <pc:docMk/>
            <pc:sldMk cId="3767900774" sldId="2156"/>
            <ac:spMk id="3" creationId="{9BCB39F6-3ED1-44A3-A5D1-0CACC54027D5}"/>
          </ac:spMkLst>
        </pc:spChg>
        <pc:spChg chg="add mod">
          <ac:chgData name="Raimund Andrée" userId="0cf943988599aae0" providerId="LiveId" clId="{DD10C568-5F52-4039-9D07-F93DD25B4D0B}" dt="2022-04-26T14:56:10.089" v="523" actId="21"/>
          <ac:spMkLst>
            <pc:docMk/>
            <pc:sldMk cId="3767900774" sldId="2156"/>
            <ac:spMk id="4" creationId="{8B9EC0A1-4627-4A58-8B9D-2AD416CBDC6A}"/>
          </ac:spMkLst>
        </pc:spChg>
        <pc:spChg chg="add mod">
          <ac:chgData name="Raimund Andrée" userId="0cf943988599aae0" providerId="LiveId" clId="{DD10C568-5F52-4039-9D07-F93DD25B4D0B}" dt="2022-04-26T14:56:21.914" v="528" actId="1076"/>
          <ac:spMkLst>
            <pc:docMk/>
            <pc:sldMk cId="3767900774" sldId="2156"/>
            <ac:spMk id="5" creationId="{45EFDA3D-1C5C-4DD6-ABD2-70D4DD6E32C7}"/>
          </ac:spMkLst>
        </pc:spChg>
        <pc:spChg chg="mod">
          <ac:chgData name="Raimund Andrée" userId="0cf943988599aae0" providerId="LiveId" clId="{DD10C568-5F52-4039-9D07-F93DD25B4D0B}" dt="2022-04-26T14:56:08.124" v="521"/>
          <ac:spMkLst>
            <pc:docMk/>
            <pc:sldMk cId="3767900774" sldId="2156"/>
            <ac:spMk id="8" creationId="{33B4A4EF-2608-4850-970A-5C704EFD869D}"/>
          </ac:spMkLst>
        </pc:spChg>
        <pc:grpChg chg="add mod">
          <ac:chgData name="Raimund Andrée" userId="0cf943988599aae0" providerId="LiveId" clId="{DD10C568-5F52-4039-9D07-F93DD25B4D0B}" dt="2022-04-26T14:56:08.124" v="521"/>
          <ac:grpSpMkLst>
            <pc:docMk/>
            <pc:sldMk cId="3767900774" sldId="2156"/>
            <ac:grpSpMk id="6" creationId="{24D13C70-DE6E-4A66-89A1-F73F44E986B2}"/>
          </ac:grpSpMkLst>
        </pc:grpChg>
        <pc:picChg chg="mod">
          <ac:chgData name="Raimund Andrée" userId="0cf943988599aae0" providerId="LiveId" clId="{DD10C568-5F52-4039-9D07-F93DD25B4D0B}" dt="2022-04-26T14:56:08.124" v="521"/>
          <ac:picMkLst>
            <pc:docMk/>
            <pc:sldMk cId="3767900774" sldId="2156"/>
            <ac:picMk id="7" creationId="{706A6FF3-DEE2-459D-8EA6-EBD353BA2DB7}"/>
          </ac:picMkLst>
        </pc:picChg>
      </pc:sldChg>
      <pc:sldChg chg="addSp delSp modSp new mod modAnim">
        <pc:chgData name="Raimund Andrée" userId="0cf943988599aae0" providerId="LiveId" clId="{DD10C568-5F52-4039-9D07-F93DD25B4D0B}" dt="2022-04-26T14:57:36.964" v="573"/>
        <pc:sldMkLst>
          <pc:docMk/>
          <pc:sldMk cId="3401903191" sldId="2157"/>
        </pc:sldMkLst>
        <pc:spChg chg="mod">
          <ac:chgData name="Raimund Andrée" userId="0cf943988599aae0" providerId="LiveId" clId="{DD10C568-5F52-4039-9D07-F93DD25B4D0B}" dt="2022-04-26T14:57:10.014" v="569" actId="20577"/>
          <ac:spMkLst>
            <pc:docMk/>
            <pc:sldMk cId="3401903191" sldId="2157"/>
            <ac:spMk id="2" creationId="{BC3212C9-6B31-4D41-809C-AF8EF547EF38}"/>
          </ac:spMkLst>
        </pc:spChg>
        <pc:spChg chg="del">
          <ac:chgData name="Raimund Andrée" userId="0cf943988599aae0" providerId="LiveId" clId="{DD10C568-5F52-4039-9D07-F93DD25B4D0B}" dt="2022-04-26T14:57:12.005" v="570" actId="478"/>
          <ac:spMkLst>
            <pc:docMk/>
            <pc:sldMk cId="3401903191" sldId="2157"/>
            <ac:spMk id="3" creationId="{00F2A047-7E54-4939-8ED2-4F031E4DDE6B}"/>
          </ac:spMkLst>
        </pc:spChg>
        <pc:spChg chg="add mod">
          <ac:chgData name="Raimund Andrée" userId="0cf943988599aae0" providerId="LiveId" clId="{DD10C568-5F52-4039-9D07-F93DD25B4D0B}" dt="2022-04-26T14:57:18.703" v="572" actId="1076"/>
          <ac:spMkLst>
            <pc:docMk/>
            <pc:sldMk cId="3401903191" sldId="2157"/>
            <ac:spMk id="5" creationId="{827F47FE-9694-433B-BD55-C086AD1C0955}"/>
          </ac:spMkLst>
        </pc:spChg>
        <pc:spChg chg="add mod">
          <ac:chgData name="Raimund Andrée" userId="0cf943988599aae0" providerId="LiveId" clId="{DD10C568-5F52-4039-9D07-F93DD25B4D0B}" dt="2022-04-26T14:57:18.703" v="572" actId="1076"/>
          <ac:spMkLst>
            <pc:docMk/>
            <pc:sldMk cId="3401903191" sldId="2157"/>
            <ac:spMk id="6" creationId="{0885513C-B0AB-4F88-A1F0-7A3C47539DDF}"/>
          </ac:spMkLst>
        </pc:spChg>
        <pc:spChg chg="add mod">
          <ac:chgData name="Raimund Andrée" userId="0cf943988599aae0" providerId="LiveId" clId="{DD10C568-5F52-4039-9D07-F93DD25B4D0B}" dt="2022-04-26T14:57:18.703" v="572" actId="1076"/>
          <ac:spMkLst>
            <pc:docMk/>
            <pc:sldMk cId="3401903191" sldId="2157"/>
            <ac:spMk id="9" creationId="{BDAF115C-AE1F-4D36-9DA1-F76CAD2BB2AF}"/>
          </ac:spMkLst>
        </pc:spChg>
        <pc:spChg chg="add mod">
          <ac:chgData name="Raimund Andrée" userId="0cf943988599aae0" providerId="LiveId" clId="{DD10C568-5F52-4039-9D07-F93DD25B4D0B}" dt="2022-04-26T14:57:18.703" v="572" actId="1076"/>
          <ac:spMkLst>
            <pc:docMk/>
            <pc:sldMk cId="3401903191" sldId="2157"/>
            <ac:spMk id="11" creationId="{3D25C496-363A-4068-965C-DA53CDD057D0}"/>
          </ac:spMkLst>
        </pc:spChg>
        <pc:picChg chg="add mod">
          <ac:chgData name="Raimund Andrée" userId="0cf943988599aae0" providerId="LiveId" clId="{DD10C568-5F52-4039-9D07-F93DD25B4D0B}" dt="2022-04-26T14:57:18.703" v="572" actId="1076"/>
          <ac:picMkLst>
            <pc:docMk/>
            <pc:sldMk cId="3401903191" sldId="2157"/>
            <ac:picMk id="4" creationId="{F71EF8B6-9517-462D-9421-DB2683D5D3DD}"/>
          </ac:picMkLst>
        </pc:picChg>
        <pc:picChg chg="add mod">
          <ac:chgData name="Raimund Andrée" userId="0cf943988599aae0" providerId="LiveId" clId="{DD10C568-5F52-4039-9D07-F93DD25B4D0B}" dt="2022-04-26T14:57:18.703" v="572" actId="1076"/>
          <ac:picMkLst>
            <pc:docMk/>
            <pc:sldMk cId="3401903191" sldId="2157"/>
            <ac:picMk id="7" creationId="{0523F0D3-C89B-4830-8DC3-9406A6F3AB2F}"/>
          </ac:picMkLst>
        </pc:picChg>
        <pc:picChg chg="add mod">
          <ac:chgData name="Raimund Andrée" userId="0cf943988599aae0" providerId="LiveId" clId="{DD10C568-5F52-4039-9D07-F93DD25B4D0B}" dt="2022-04-26T14:57:18.703" v="572" actId="1076"/>
          <ac:picMkLst>
            <pc:docMk/>
            <pc:sldMk cId="3401903191" sldId="2157"/>
            <ac:picMk id="8" creationId="{5EABDC24-6FE8-4D61-AEE4-04B39750E12A}"/>
          </ac:picMkLst>
        </pc:picChg>
        <pc:cxnChg chg="add mod">
          <ac:chgData name="Raimund Andrée" userId="0cf943988599aae0" providerId="LiveId" clId="{DD10C568-5F52-4039-9D07-F93DD25B4D0B}" dt="2022-04-26T14:57:18.703" v="572" actId="1076"/>
          <ac:cxnSpMkLst>
            <pc:docMk/>
            <pc:sldMk cId="3401903191" sldId="2157"/>
            <ac:cxnSpMk id="10" creationId="{6901D4D9-019E-44EC-A744-CAFA0603C9C5}"/>
          </ac:cxnSpMkLst>
        </pc:cxnChg>
      </pc:sldChg>
      <pc:sldChg chg="addSp delSp modSp new mod">
        <pc:chgData name="Raimund Andrée" userId="0cf943988599aae0" providerId="LiveId" clId="{DD10C568-5F52-4039-9D07-F93DD25B4D0B}" dt="2022-04-26T15:04:00.368" v="667"/>
        <pc:sldMkLst>
          <pc:docMk/>
          <pc:sldMk cId="3302745953" sldId="2158"/>
        </pc:sldMkLst>
        <pc:spChg chg="mod">
          <ac:chgData name="Raimund Andrée" userId="0cf943988599aae0" providerId="LiveId" clId="{DD10C568-5F52-4039-9D07-F93DD25B4D0B}" dt="2022-04-26T15:03:58.069" v="665" actId="20577"/>
          <ac:spMkLst>
            <pc:docMk/>
            <pc:sldMk cId="3302745953" sldId="2158"/>
            <ac:spMk id="2" creationId="{711CEDAA-01A8-409B-A225-8138A6D2FBE1}"/>
          </ac:spMkLst>
        </pc:spChg>
        <pc:spChg chg="del">
          <ac:chgData name="Raimund Andrée" userId="0cf943988599aae0" providerId="LiveId" clId="{DD10C568-5F52-4039-9D07-F93DD25B4D0B}" dt="2022-04-26T15:04:00.008" v="666" actId="478"/>
          <ac:spMkLst>
            <pc:docMk/>
            <pc:sldMk cId="3302745953" sldId="2158"/>
            <ac:spMk id="3" creationId="{D45B2F48-5D17-484E-8713-4F005FC16D1E}"/>
          </ac:spMkLst>
        </pc:spChg>
        <pc:picChg chg="add mod">
          <ac:chgData name="Raimund Andrée" userId="0cf943988599aae0" providerId="LiveId" clId="{DD10C568-5F52-4039-9D07-F93DD25B4D0B}" dt="2022-04-26T15:04:00.368" v="667"/>
          <ac:picMkLst>
            <pc:docMk/>
            <pc:sldMk cId="3302745953" sldId="2158"/>
            <ac:picMk id="4" creationId="{C70EC40E-831B-41C6-9A53-44F618423C0A}"/>
          </ac:picMkLst>
        </pc:picChg>
        <pc:picChg chg="add mod">
          <ac:chgData name="Raimund Andrée" userId="0cf943988599aae0" providerId="LiveId" clId="{DD10C568-5F52-4039-9D07-F93DD25B4D0B}" dt="2022-04-26T15:04:00.368" v="667"/>
          <ac:picMkLst>
            <pc:docMk/>
            <pc:sldMk cId="3302745953" sldId="2158"/>
            <ac:picMk id="5" creationId="{BAE9A56D-C5CF-4FE0-A4C6-506854B1D0C6}"/>
          </ac:picMkLst>
        </pc:picChg>
        <pc:picChg chg="add mod">
          <ac:chgData name="Raimund Andrée" userId="0cf943988599aae0" providerId="LiveId" clId="{DD10C568-5F52-4039-9D07-F93DD25B4D0B}" dt="2022-04-26T15:04:00.368" v="667"/>
          <ac:picMkLst>
            <pc:docMk/>
            <pc:sldMk cId="3302745953" sldId="2158"/>
            <ac:picMk id="8" creationId="{61E34EE9-0C94-4503-8672-8B4B44C0E87F}"/>
          </ac:picMkLst>
        </pc:picChg>
        <pc:cxnChg chg="add mod">
          <ac:chgData name="Raimund Andrée" userId="0cf943988599aae0" providerId="LiveId" clId="{DD10C568-5F52-4039-9D07-F93DD25B4D0B}" dt="2022-04-26T15:04:00.368" v="667"/>
          <ac:cxnSpMkLst>
            <pc:docMk/>
            <pc:sldMk cId="3302745953" sldId="2158"/>
            <ac:cxnSpMk id="6" creationId="{92F3FBD0-3D40-41D8-962C-2A62B522D36A}"/>
          </ac:cxnSpMkLst>
        </pc:cxnChg>
        <pc:cxnChg chg="add mod">
          <ac:chgData name="Raimund Andrée" userId="0cf943988599aae0" providerId="LiveId" clId="{DD10C568-5F52-4039-9D07-F93DD25B4D0B}" dt="2022-04-26T15:04:00.368" v="667"/>
          <ac:cxnSpMkLst>
            <pc:docMk/>
            <pc:sldMk cId="3302745953" sldId="2158"/>
            <ac:cxnSpMk id="7" creationId="{5D6A5BB7-3604-4220-A52C-029B9C358AD4}"/>
          </ac:cxnSpMkLst>
        </pc:cxnChg>
        <pc:cxnChg chg="add mod">
          <ac:chgData name="Raimund Andrée" userId="0cf943988599aae0" providerId="LiveId" clId="{DD10C568-5F52-4039-9D07-F93DD25B4D0B}" dt="2022-04-26T15:04:00.368" v="667"/>
          <ac:cxnSpMkLst>
            <pc:docMk/>
            <pc:sldMk cId="3302745953" sldId="2158"/>
            <ac:cxnSpMk id="9" creationId="{414A82A7-00A4-471D-92C1-641233CC3CCE}"/>
          </ac:cxnSpMkLst>
        </pc:cxnChg>
      </pc:sldChg>
      <pc:sldChg chg="addSp delSp modSp new mod modAnim">
        <pc:chgData name="Raimund Andrée" userId="0cf943988599aae0" providerId="LiveId" clId="{DD10C568-5F52-4039-9D07-F93DD25B4D0B}" dt="2022-04-26T15:05:52.094" v="707" actId="1035"/>
        <pc:sldMkLst>
          <pc:docMk/>
          <pc:sldMk cId="3785510985" sldId="2159"/>
        </pc:sldMkLst>
        <pc:spChg chg="del mod">
          <ac:chgData name="Raimund Andrée" userId="0cf943988599aae0" providerId="LiveId" clId="{DD10C568-5F52-4039-9D07-F93DD25B4D0B}" dt="2022-04-26T15:05:39.887" v="681" actId="478"/>
          <ac:spMkLst>
            <pc:docMk/>
            <pc:sldMk cId="3785510985" sldId="2159"/>
            <ac:spMk id="2" creationId="{73B39E77-EC40-4930-ABAB-E5FA8053BCDA}"/>
          </ac:spMkLst>
        </pc:spChg>
        <pc:spChg chg="del">
          <ac:chgData name="Raimund Andrée" userId="0cf943988599aae0" providerId="LiveId" clId="{DD10C568-5F52-4039-9D07-F93DD25B4D0B}" dt="2022-04-26T15:05:26.165" v="671" actId="478"/>
          <ac:spMkLst>
            <pc:docMk/>
            <pc:sldMk cId="3785510985" sldId="2159"/>
            <ac:spMk id="3" creationId="{7F149254-1B31-45E9-AA68-AF700FBAB479}"/>
          </ac:spMkLst>
        </pc:spChg>
        <pc:spChg chg="add mod">
          <ac:chgData name="Raimund Andrée" userId="0cf943988599aae0" providerId="LiveId" clId="{DD10C568-5F52-4039-9D07-F93DD25B4D0B}" dt="2022-04-26T15:05:52.094" v="707" actId="1035"/>
          <ac:spMkLst>
            <pc:docMk/>
            <pc:sldMk cId="3785510985" sldId="2159"/>
            <ac:spMk id="12" creationId="{BCF26430-0F80-44F3-ABE8-A8871C9914D0}"/>
          </ac:spMkLst>
        </pc:spChg>
        <pc:spChg chg="add del mod">
          <ac:chgData name="Raimund Andrée" userId="0cf943988599aae0" providerId="LiveId" clId="{DD10C568-5F52-4039-9D07-F93DD25B4D0B}" dt="2022-04-26T15:05:42.840" v="682" actId="478"/>
          <ac:spMkLst>
            <pc:docMk/>
            <pc:sldMk cId="3785510985" sldId="2159"/>
            <ac:spMk id="14" creationId="{CA99809A-F29B-48C3-B0A6-F3C35DD944C5}"/>
          </ac:spMkLst>
        </pc:spChg>
        <pc:picChg chg="add mod">
          <ac:chgData name="Raimund Andrée" userId="0cf943988599aae0" providerId="LiveId" clId="{DD10C568-5F52-4039-9D07-F93DD25B4D0B}" dt="2022-04-26T15:05:52.094" v="707" actId="1035"/>
          <ac:picMkLst>
            <pc:docMk/>
            <pc:sldMk cId="3785510985" sldId="2159"/>
            <ac:picMk id="4" creationId="{F3CCDD73-8270-4248-8A44-0636C383546D}"/>
          </ac:picMkLst>
        </pc:picChg>
        <pc:picChg chg="add mod">
          <ac:chgData name="Raimund Andrée" userId="0cf943988599aae0" providerId="LiveId" clId="{DD10C568-5F52-4039-9D07-F93DD25B4D0B}" dt="2022-04-26T15:05:52.094" v="707" actId="1035"/>
          <ac:picMkLst>
            <pc:docMk/>
            <pc:sldMk cId="3785510985" sldId="2159"/>
            <ac:picMk id="5" creationId="{41D5FAD0-D8B9-4BA4-85DA-C89003EDFB80}"/>
          </ac:picMkLst>
        </pc:picChg>
        <pc:picChg chg="add mod">
          <ac:chgData name="Raimund Andrée" userId="0cf943988599aae0" providerId="LiveId" clId="{DD10C568-5F52-4039-9D07-F93DD25B4D0B}" dt="2022-04-26T15:05:52.094" v="707" actId="1035"/>
          <ac:picMkLst>
            <pc:docMk/>
            <pc:sldMk cId="3785510985" sldId="2159"/>
            <ac:picMk id="7" creationId="{2B5CBC8F-D9F2-410B-A1F4-F563C83D1430}"/>
          </ac:picMkLst>
        </pc:picChg>
        <pc:picChg chg="add mod">
          <ac:chgData name="Raimund Andrée" userId="0cf943988599aae0" providerId="LiveId" clId="{DD10C568-5F52-4039-9D07-F93DD25B4D0B}" dt="2022-04-26T15:05:52.094" v="707" actId="1035"/>
          <ac:picMkLst>
            <pc:docMk/>
            <pc:sldMk cId="3785510985" sldId="2159"/>
            <ac:picMk id="10" creationId="{427054FD-3D51-430D-8CF1-FC40489DB15A}"/>
          </ac:picMkLst>
        </pc:picChg>
        <pc:cxnChg chg="add mod">
          <ac:chgData name="Raimund Andrée" userId="0cf943988599aae0" providerId="LiveId" clId="{DD10C568-5F52-4039-9D07-F93DD25B4D0B}" dt="2022-04-26T15:05:52.094" v="707" actId="1035"/>
          <ac:cxnSpMkLst>
            <pc:docMk/>
            <pc:sldMk cId="3785510985" sldId="2159"/>
            <ac:cxnSpMk id="6" creationId="{04AE7B7C-F750-4CA3-A540-3EC70EBFF06B}"/>
          </ac:cxnSpMkLst>
        </pc:cxnChg>
        <pc:cxnChg chg="add mod">
          <ac:chgData name="Raimund Andrée" userId="0cf943988599aae0" providerId="LiveId" clId="{DD10C568-5F52-4039-9D07-F93DD25B4D0B}" dt="2022-04-26T15:05:52.094" v="707" actId="1035"/>
          <ac:cxnSpMkLst>
            <pc:docMk/>
            <pc:sldMk cId="3785510985" sldId="2159"/>
            <ac:cxnSpMk id="8" creationId="{DE37CF4A-23AA-4320-86E9-E08D7DD2CFD1}"/>
          </ac:cxnSpMkLst>
        </pc:cxnChg>
        <pc:cxnChg chg="add mod">
          <ac:chgData name="Raimund Andrée" userId="0cf943988599aae0" providerId="LiveId" clId="{DD10C568-5F52-4039-9D07-F93DD25B4D0B}" dt="2022-04-26T15:05:52.094" v="707" actId="1035"/>
          <ac:cxnSpMkLst>
            <pc:docMk/>
            <pc:sldMk cId="3785510985" sldId="2159"/>
            <ac:cxnSpMk id="9" creationId="{7A2A8505-B198-4244-802D-BCD2DAF1DBF5}"/>
          </ac:cxnSpMkLst>
        </pc:cxnChg>
        <pc:cxnChg chg="add mod">
          <ac:chgData name="Raimund Andrée" userId="0cf943988599aae0" providerId="LiveId" clId="{DD10C568-5F52-4039-9D07-F93DD25B4D0B}" dt="2022-04-26T15:05:52.094" v="707" actId="1035"/>
          <ac:cxnSpMkLst>
            <pc:docMk/>
            <pc:sldMk cId="3785510985" sldId="2159"/>
            <ac:cxnSpMk id="11" creationId="{BAD984D5-F33B-45E5-931E-65DBD5DD2BC6}"/>
          </ac:cxnSpMkLst>
        </pc:cxnChg>
      </pc:sldChg>
      <pc:sldChg chg="addSp delSp modSp new mod delAnim modAnim">
        <pc:chgData name="Raimund Andrée" userId="0cf943988599aae0" providerId="LiveId" clId="{DD10C568-5F52-4039-9D07-F93DD25B4D0B}" dt="2022-04-26T15:06:25.962" v="713"/>
        <pc:sldMkLst>
          <pc:docMk/>
          <pc:sldMk cId="175252" sldId="2160"/>
        </pc:sldMkLst>
        <pc:spChg chg="del">
          <ac:chgData name="Raimund Andrée" userId="0cf943988599aae0" providerId="LiveId" clId="{DD10C568-5F52-4039-9D07-F93DD25B4D0B}" dt="2022-04-26T15:06:25.565" v="712" actId="478"/>
          <ac:spMkLst>
            <pc:docMk/>
            <pc:sldMk cId="175252" sldId="2160"/>
            <ac:spMk id="2" creationId="{C02209F4-2526-4FF5-8FB9-E815E517755B}"/>
          </ac:spMkLst>
        </pc:spChg>
        <pc:spChg chg="del">
          <ac:chgData name="Raimund Andrée" userId="0cf943988599aae0" providerId="LiveId" clId="{DD10C568-5F52-4039-9D07-F93DD25B4D0B}" dt="2022-04-26T15:06:24.221" v="711" actId="478"/>
          <ac:spMkLst>
            <pc:docMk/>
            <pc:sldMk cId="175252" sldId="2160"/>
            <ac:spMk id="3" creationId="{C1B41949-67EB-40BC-9731-9B130BDD6E62}"/>
          </ac:spMkLst>
        </pc:spChg>
        <pc:spChg chg="mod">
          <ac:chgData name="Raimund Andrée" userId="0cf943988599aae0" providerId="LiveId" clId="{DD10C568-5F52-4039-9D07-F93DD25B4D0B}" dt="2022-04-26T15:06:17.493" v="709"/>
          <ac:spMkLst>
            <pc:docMk/>
            <pc:sldMk cId="175252" sldId="2160"/>
            <ac:spMk id="7" creationId="{277D06DE-1F47-4749-85B2-1ADBC635DD9E}"/>
          </ac:spMkLst>
        </pc:spChg>
        <pc:spChg chg="mod">
          <ac:chgData name="Raimund Andrée" userId="0cf943988599aae0" providerId="LiveId" clId="{DD10C568-5F52-4039-9D07-F93DD25B4D0B}" dt="2022-04-26T15:06:17.493" v="709"/>
          <ac:spMkLst>
            <pc:docMk/>
            <pc:sldMk cId="175252" sldId="2160"/>
            <ac:spMk id="9" creationId="{2407B1B4-C4BD-450F-BB4D-A48D51F275A1}"/>
          </ac:spMkLst>
        </pc:spChg>
        <pc:spChg chg="mod">
          <ac:chgData name="Raimund Andrée" userId="0cf943988599aae0" providerId="LiveId" clId="{DD10C568-5F52-4039-9D07-F93DD25B4D0B}" dt="2022-04-26T15:06:25.962" v="713"/>
          <ac:spMkLst>
            <pc:docMk/>
            <pc:sldMk cId="175252" sldId="2160"/>
            <ac:spMk id="14" creationId="{7CAED399-0729-4E66-8361-A0D5554C836C}"/>
          </ac:spMkLst>
        </pc:spChg>
        <pc:spChg chg="mod">
          <ac:chgData name="Raimund Andrée" userId="0cf943988599aae0" providerId="LiveId" clId="{DD10C568-5F52-4039-9D07-F93DD25B4D0B}" dt="2022-04-26T15:06:25.962" v="713"/>
          <ac:spMkLst>
            <pc:docMk/>
            <pc:sldMk cId="175252" sldId="2160"/>
            <ac:spMk id="16" creationId="{D36690F6-9EC6-4EDB-9A46-094E83F967E3}"/>
          </ac:spMkLst>
        </pc:spChg>
        <pc:grpChg chg="add del mod">
          <ac:chgData name="Raimund Andrée" userId="0cf943988599aae0" providerId="LiveId" clId="{DD10C568-5F52-4039-9D07-F93DD25B4D0B}" dt="2022-04-26T15:06:22.368" v="710" actId="478"/>
          <ac:grpSpMkLst>
            <pc:docMk/>
            <pc:sldMk cId="175252" sldId="2160"/>
            <ac:grpSpMk id="5" creationId="{102C0EAB-BDA2-4F58-8393-8FE40973CC3B}"/>
          </ac:grpSpMkLst>
        </pc:grpChg>
        <pc:grpChg chg="add del mod">
          <ac:chgData name="Raimund Andrée" userId="0cf943988599aae0" providerId="LiveId" clId="{DD10C568-5F52-4039-9D07-F93DD25B4D0B}" dt="2022-04-26T15:06:22.368" v="710" actId="478"/>
          <ac:grpSpMkLst>
            <pc:docMk/>
            <pc:sldMk cId="175252" sldId="2160"/>
            <ac:grpSpMk id="8" creationId="{68EB8D5B-5E4E-47C0-B402-70EF8A9A32FF}"/>
          </ac:grpSpMkLst>
        </pc:grpChg>
        <pc:grpChg chg="add mod">
          <ac:chgData name="Raimund Andrée" userId="0cf943988599aae0" providerId="LiveId" clId="{DD10C568-5F52-4039-9D07-F93DD25B4D0B}" dt="2022-04-26T15:06:25.962" v="713"/>
          <ac:grpSpMkLst>
            <pc:docMk/>
            <pc:sldMk cId="175252" sldId="2160"/>
            <ac:grpSpMk id="12" creationId="{031EDB22-8FB6-48D6-BFCA-64E7C4FA6240}"/>
          </ac:grpSpMkLst>
        </pc:grpChg>
        <pc:grpChg chg="add mod">
          <ac:chgData name="Raimund Andrée" userId="0cf943988599aae0" providerId="LiveId" clId="{DD10C568-5F52-4039-9D07-F93DD25B4D0B}" dt="2022-04-26T15:06:25.962" v="713"/>
          <ac:grpSpMkLst>
            <pc:docMk/>
            <pc:sldMk cId="175252" sldId="2160"/>
            <ac:grpSpMk id="15" creationId="{53BCF77F-E7AD-440D-ADE4-646785C15896}"/>
          </ac:grpSpMkLst>
        </pc:grpChg>
        <pc:picChg chg="add del mod">
          <ac:chgData name="Raimund Andrée" userId="0cf943988599aae0" providerId="LiveId" clId="{DD10C568-5F52-4039-9D07-F93DD25B4D0B}" dt="2022-04-26T15:06:22.368" v="710" actId="478"/>
          <ac:picMkLst>
            <pc:docMk/>
            <pc:sldMk cId="175252" sldId="2160"/>
            <ac:picMk id="4" creationId="{A91096C0-ACF8-4939-B480-36F9CDCBE586}"/>
          </ac:picMkLst>
        </pc:picChg>
        <pc:picChg chg="mod">
          <ac:chgData name="Raimund Andrée" userId="0cf943988599aae0" providerId="LiveId" clId="{DD10C568-5F52-4039-9D07-F93DD25B4D0B}" dt="2022-04-26T15:06:17.493" v="709"/>
          <ac:picMkLst>
            <pc:docMk/>
            <pc:sldMk cId="175252" sldId="2160"/>
            <ac:picMk id="6" creationId="{C34D17B0-B487-462B-A078-78FF180C7EDA}"/>
          </ac:picMkLst>
        </pc:picChg>
        <pc:picChg chg="add mod">
          <ac:chgData name="Raimund Andrée" userId="0cf943988599aae0" providerId="LiveId" clId="{DD10C568-5F52-4039-9D07-F93DD25B4D0B}" dt="2022-04-26T15:06:25.962" v="713"/>
          <ac:picMkLst>
            <pc:docMk/>
            <pc:sldMk cId="175252" sldId="2160"/>
            <ac:picMk id="11" creationId="{A0F246F8-B4D2-42CF-AAF6-0166566BDD06}"/>
          </ac:picMkLst>
        </pc:picChg>
        <pc:picChg chg="mod">
          <ac:chgData name="Raimund Andrée" userId="0cf943988599aae0" providerId="LiveId" clId="{DD10C568-5F52-4039-9D07-F93DD25B4D0B}" dt="2022-04-26T15:06:25.962" v="713"/>
          <ac:picMkLst>
            <pc:docMk/>
            <pc:sldMk cId="175252" sldId="2160"/>
            <ac:picMk id="13" creationId="{192EF905-961A-4DF6-A630-95D1F9341FB8}"/>
          </ac:picMkLst>
        </pc:picChg>
        <pc:cxnChg chg="mod">
          <ac:chgData name="Raimund Andrée" userId="0cf943988599aae0" providerId="LiveId" clId="{DD10C568-5F52-4039-9D07-F93DD25B4D0B}" dt="2022-04-26T15:06:17.493" v="709"/>
          <ac:cxnSpMkLst>
            <pc:docMk/>
            <pc:sldMk cId="175252" sldId="2160"/>
            <ac:cxnSpMk id="10" creationId="{0E6E8D51-AD59-4F4E-901A-437007E086DD}"/>
          </ac:cxnSpMkLst>
        </pc:cxnChg>
        <pc:cxnChg chg="mod">
          <ac:chgData name="Raimund Andrée" userId="0cf943988599aae0" providerId="LiveId" clId="{DD10C568-5F52-4039-9D07-F93DD25B4D0B}" dt="2022-04-26T15:06:25.962" v="713"/>
          <ac:cxnSpMkLst>
            <pc:docMk/>
            <pc:sldMk cId="175252" sldId="2160"/>
            <ac:cxnSpMk id="17" creationId="{39D3B5E6-F25B-4D27-A79D-3C023ADEF80C}"/>
          </ac:cxnSpMkLst>
        </pc:cxnChg>
      </pc:sldChg>
      <pc:sldChg chg="modSp add mod">
        <pc:chgData name="Raimund Andrée" userId="0cf943988599aae0" providerId="LiveId" clId="{DD10C568-5F52-4039-9D07-F93DD25B4D0B}" dt="2022-04-26T15:14:01.707" v="778" actId="20577"/>
        <pc:sldMkLst>
          <pc:docMk/>
          <pc:sldMk cId="102967326" sldId="2161"/>
        </pc:sldMkLst>
        <pc:spChg chg="mod">
          <ac:chgData name="Raimund Andrée" userId="0cf943988599aae0" providerId="LiveId" clId="{DD10C568-5F52-4039-9D07-F93DD25B4D0B}" dt="2022-04-26T15:14:01.707" v="778" actId="20577"/>
          <ac:spMkLst>
            <pc:docMk/>
            <pc:sldMk cId="102967326" sldId="2161"/>
            <ac:spMk id="4" creationId="{0483E8A5-A0B0-4C8B-ACA5-651873EA8438}"/>
          </ac:spMkLst>
        </pc:spChg>
      </pc:sldChg>
      <pc:sldChg chg="modSp add mod ord">
        <pc:chgData name="Raimund Andrée" userId="0cf943988599aae0" providerId="LiveId" clId="{DD10C568-5F52-4039-9D07-F93DD25B4D0B}" dt="2022-04-26T15:14:25.571" v="807" actId="20577"/>
        <pc:sldMkLst>
          <pc:docMk/>
          <pc:sldMk cId="1192758493" sldId="2162"/>
        </pc:sldMkLst>
        <pc:spChg chg="mod">
          <ac:chgData name="Raimund Andrée" userId="0cf943988599aae0" providerId="LiveId" clId="{DD10C568-5F52-4039-9D07-F93DD25B4D0B}" dt="2022-04-26T15:14:25.571" v="807" actId="20577"/>
          <ac:spMkLst>
            <pc:docMk/>
            <pc:sldMk cId="1192758493" sldId="2162"/>
            <ac:spMk id="4" creationId="{0483E8A5-A0B0-4C8B-ACA5-651873EA8438}"/>
          </ac:spMkLst>
        </pc:spChg>
      </pc:sldChg>
    </pc:docChg>
  </pc:docChgLst>
  <pc:docChgLst>
    <pc:chgData name="Raimund Andrée" userId="0cf943988599aae0" providerId="LiveId" clId="{4A77A726-9CAD-48D8-AB63-1833367A4D21}"/>
    <pc:docChg chg="undo redo custSel addSld delSld modSld">
      <pc:chgData name="Raimund Andrée" userId="0cf943988599aae0" providerId="LiveId" clId="{4A77A726-9CAD-48D8-AB63-1833367A4D21}" dt="2022-06-02T07:30:37.373" v="106" actId="13926"/>
      <pc:docMkLst>
        <pc:docMk/>
      </pc:docMkLst>
      <pc:sldChg chg="modSp mod">
        <pc:chgData name="Raimund Andrée" userId="0cf943988599aae0" providerId="LiveId" clId="{4A77A726-9CAD-48D8-AB63-1833367A4D21}" dt="2022-06-01T11:27:58.200" v="30" actId="6549"/>
        <pc:sldMkLst>
          <pc:docMk/>
          <pc:sldMk cId="4014814200" sldId="1852"/>
        </pc:sldMkLst>
        <pc:spChg chg="mod">
          <ac:chgData name="Raimund Andrée" userId="0cf943988599aae0" providerId="LiveId" clId="{4A77A726-9CAD-48D8-AB63-1833367A4D21}" dt="2022-06-01T11:27:58.200" v="30" actId="6549"/>
          <ac:spMkLst>
            <pc:docMk/>
            <pc:sldMk cId="4014814200" sldId="1852"/>
            <ac:spMk id="5" creationId="{00000000-0000-0000-0000-000000000000}"/>
          </ac:spMkLst>
        </pc:spChg>
      </pc:sldChg>
      <pc:sldChg chg="modSp mod">
        <pc:chgData name="Raimund Andrée" userId="0cf943988599aae0" providerId="LiveId" clId="{4A77A726-9CAD-48D8-AB63-1833367A4D21}" dt="2022-06-02T06:42:33.414" v="56" actId="1037"/>
        <pc:sldMkLst>
          <pc:docMk/>
          <pc:sldMk cId="4192831544" sldId="2155"/>
        </pc:sldMkLst>
        <pc:spChg chg="mod">
          <ac:chgData name="Raimund Andrée" userId="0cf943988599aae0" providerId="LiveId" clId="{4A77A726-9CAD-48D8-AB63-1833367A4D21}" dt="2022-06-02T06:42:26.819" v="46" actId="1037"/>
          <ac:spMkLst>
            <pc:docMk/>
            <pc:sldMk cId="4192831544" sldId="2155"/>
            <ac:spMk id="11" creationId="{987362AC-4B57-442A-9E02-FC1EF4A388B7}"/>
          </ac:spMkLst>
        </pc:spChg>
        <pc:spChg chg="mod">
          <ac:chgData name="Raimund Andrée" userId="0cf943988599aae0" providerId="LiveId" clId="{4A77A726-9CAD-48D8-AB63-1833367A4D21}" dt="2022-06-02T06:42:24.197" v="42" actId="1037"/>
          <ac:spMkLst>
            <pc:docMk/>
            <pc:sldMk cId="4192831544" sldId="2155"/>
            <ac:spMk id="14" creationId="{10B2EB11-9C11-4716-BA2E-BB3F30364C0D}"/>
          </ac:spMkLst>
        </pc:spChg>
        <pc:spChg chg="mod">
          <ac:chgData name="Raimund Andrée" userId="0cf943988599aae0" providerId="LiveId" clId="{4A77A726-9CAD-48D8-AB63-1833367A4D21}" dt="2022-06-02T06:42:29.795" v="51" actId="1037"/>
          <ac:spMkLst>
            <pc:docMk/>
            <pc:sldMk cId="4192831544" sldId="2155"/>
            <ac:spMk id="17" creationId="{A412D703-DBE0-405F-A8CB-1CF6B6A4F7D3}"/>
          </ac:spMkLst>
        </pc:spChg>
        <pc:spChg chg="mod">
          <ac:chgData name="Raimund Andrée" userId="0cf943988599aae0" providerId="LiveId" clId="{4A77A726-9CAD-48D8-AB63-1833367A4D21}" dt="2022-06-02T06:42:33.414" v="56" actId="1037"/>
          <ac:spMkLst>
            <pc:docMk/>
            <pc:sldMk cId="4192831544" sldId="2155"/>
            <ac:spMk id="36" creationId="{D54FA984-D7E2-4B76-B3E0-5A88C4BBB4AB}"/>
          </ac:spMkLst>
        </pc:spChg>
      </pc:sldChg>
      <pc:sldChg chg="add del">
        <pc:chgData name="Raimund Andrée" userId="0cf943988599aae0" providerId="LiveId" clId="{4A77A726-9CAD-48D8-AB63-1833367A4D21}" dt="2022-06-02T07:28:31.812" v="58" actId="2696"/>
        <pc:sldMkLst>
          <pc:docMk/>
          <pc:sldMk cId="776883273" sldId="2163"/>
        </pc:sldMkLst>
      </pc:sldChg>
      <pc:sldChg chg="modSp add mod">
        <pc:chgData name="Raimund Andrée" userId="0cf943988599aae0" providerId="LiveId" clId="{4A77A726-9CAD-48D8-AB63-1833367A4D21}" dt="2022-06-02T07:30:37.373" v="106" actId="13926"/>
        <pc:sldMkLst>
          <pc:docMk/>
          <pc:sldMk cId="3567111951" sldId="2163"/>
        </pc:sldMkLst>
        <pc:spChg chg="mod">
          <ac:chgData name="Raimund Andrée" userId="0cf943988599aae0" providerId="LiveId" clId="{4A77A726-9CAD-48D8-AB63-1833367A4D21}" dt="2022-06-02T07:28:41.892" v="75" actId="20577"/>
          <ac:spMkLst>
            <pc:docMk/>
            <pc:sldMk cId="3567111951" sldId="2163"/>
            <ac:spMk id="2" creationId="{F96DB570-38DB-49D3-9D3D-DD0CB0BAE18B}"/>
          </ac:spMkLst>
        </pc:spChg>
        <pc:spChg chg="mod">
          <ac:chgData name="Raimund Andrée" userId="0cf943988599aae0" providerId="LiveId" clId="{4A77A726-9CAD-48D8-AB63-1833367A4D21}" dt="2022-06-02T07:30:37.373" v="106" actId="13926"/>
          <ac:spMkLst>
            <pc:docMk/>
            <pc:sldMk cId="3567111951" sldId="2163"/>
            <ac:spMk id="3" creationId="{104957BD-A3C5-4968-A58A-C82B2EB6B539}"/>
          </ac:spMkLst>
        </pc:spChg>
      </pc:sldChg>
    </pc:docChg>
  </pc:docChgLst>
  <pc:docChgLst>
    <pc:chgData name="Raimund Andrée" userId="0cf943988599aae0" providerId="LiveId" clId="{CEB5163D-D4C1-4E1E-94CA-61AC32CEAAC4}"/>
    <pc:docChg chg="modSld">
      <pc:chgData name="Raimund Andrée" userId="0cf943988599aae0" providerId="LiveId" clId="{CEB5163D-D4C1-4E1E-94CA-61AC32CEAAC4}" dt="2022-06-02T10:17:37.643" v="88" actId="20577"/>
      <pc:docMkLst>
        <pc:docMk/>
      </pc:docMkLst>
      <pc:sldChg chg="modSp mod">
        <pc:chgData name="Raimund Andrée" userId="0cf943988599aae0" providerId="LiveId" clId="{CEB5163D-D4C1-4E1E-94CA-61AC32CEAAC4}" dt="2022-06-02T10:17:37.643" v="88" actId="20577"/>
        <pc:sldMkLst>
          <pc:docMk/>
          <pc:sldMk cId="4014814200" sldId="1852"/>
        </pc:sldMkLst>
        <pc:spChg chg="mod">
          <ac:chgData name="Raimund Andrée" userId="0cf943988599aae0" providerId="LiveId" clId="{CEB5163D-D4C1-4E1E-94CA-61AC32CEAAC4}" dt="2022-06-02T10:17:37.643" v="88" actId="20577"/>
          <ac:spMkLst>
            <pc:docMk/>
            <pc:sldMk cId="4014814200" sldId="1852"/>
            <ac:spMk id="5" creationId="{00000000-0000-0000-0000-000000000000}"/>
          </ac:spMkLst>
        </pc:spChg>
      </pc:sldChg>
    </pc:docChg>
  </pc:docChgLst>
  <pc:docChgLst>
    <pc:chgData name="Raimund Andrée" userId="0cf943988599aae0" providerId="LiveId" clId="{3A486B9C-3D15-4F73-B817-8F80CC70D8D2}"/>
    <pc:docChg chg="modSld">
      <pc:chgData name="Raimund Andrée" userId="0cf943988599aae0" providerId="LiveId" clId="{3A486B9C-3D15-4F73-B817-8F80CC70D8D2}" dt="2020-03-23T14:20:06.281" v="0" actId="20577"/>
      <pc:docMkLst>
        <pc:docMk/>
      </pc:docMkLst>
      <pc:sldChg chg="modSp mod">
        <pc:chgData name="Raimund Andrée" userId="0cf943988599aae0" providerId="LiveId" clId="{3A486B9C-3D15-4F73-B817-8F80CC70D8D2}" dt="2020-03-23T14:20:06.281" v="0" actId="20577"/>
        <pc:sldMkLst>
          <pc:docMk/>
          <pc:sldMk cId="3653333126" sldId="1866"/>
        </pc:sldMkLst>
        <pc:spChg chg="mod">
          <ac:chgData name="Raimund Andrée" userId="0cf943988599aae0" providerId="LiveId" clId="{3A486B9C-3D15-4F73-B817-8F80CC70D8D2}" dt="2020-03-23T14:20:06.281" v="0" actId="20577"/>
          <ac:spMkLst>
            <pc:docMk/>
            <pc:sldMk cId="3653333126" sldId="1866"/>
            <ac:spMk id="2" creationId="{D4211DE4-B398-46CB-B7FB-EF988E40ECF8}"/>
          </ac:spMkLst>
        </pc:spChg>
      </pc:sldChg>
    </pc:docChg>
  </pc:docChgLst>
  <pc:docChgLst>
    <pc:chgData name="Raimund" userId="0cf943988599aae0" providerId="LiveId" clId="{5B2BDD3B-4949-4CFF-A6BA-CF13E4F349F4}"/>
    <pc:docChg chg="undo custSel addSld modSld sldOrd">
      <pc:chgData name="Raimund" userId="0cf943988599aae0" providerId="LiveId" clId="{5B2BDD3B-4949-4CFF-A6BA-CF13E4F349F4}" dt="2022-04-25T20:40:06.202" v="371" actId="20577"/>
      <pc:docMkLst>
        <pc:docMk/>
      </pc:docMkLst>
      <pc:sldChg chg="modSp mod">
        <pc:chgData name="Raimund" userId="0cf943988599aae0" providerId="LiveId" clId="{5B2BDD3B-4949-4CFF-A6BA-CF13E4F349F4}" dt="2022-04-25T20:20:03.456" v="252" actId="6549"/>
        <pc:sldMkLst>
          <pc:docMk/>
          <pc:sldMk cId="2980022429" sldId="1857"/>
        </pc:sldMkLst>
        <pc:spChg chg="mod">
          <ac:chgData name="Raimund" userId="0cf943988599aae0" providerId="LiveId" clId="{5B2BDD3B-4949-4CFF-A6BA-CF13E4F349F4}" dt="2022-04-25T20:20:03.456" v="252" actId="6549"/>
          <ac:spMkLst>
            <pc:docMk/>
            <pc:sldMk cId="2980022429" sldId="1857"/>
            <ac:spMk id="3" creationId="{CF5FA86A-3E84-4208-8635-5EEDEAF9EFB9}"/>
          </ac:spMkLst>
        </pc:spChg>
      </pc:sldChg>
      <pc:sldChg chg="modSp mod">
        <pc:chgData name="Raimund" userId="0cf943988599aae0" providerId="LiveId" clId="{5B2BDD3B-4949-4CFF-A6BA-CF13E4F349F4}" dt="2022-04-25T20:40:06.202" v="371" actId="20577"/>
        <pc:sldMkLst>
          <pc:docMk/>
          <pc:sldMk cId="2952351085" sldId="1859"/>
        </pc:sldMkLst>
        <pc:spChg chg="mod">
          <ac:chgData name="Raimund" userId="0cf943988599aae0" providerId="LiveId" clId="{5B2BDD3B-4949-4CFF-A6BA-CF13E4F349F4}" dt="2022-04-25T20:38:34.120" v="281" actId="20577"/>
          <ac:spMkLst>
            <pc:docMk/>
            <pc:sldMk cId="2952351085" sldId="1859"/>
            <ac:spMk id="2" creationId="{F96DB570-38DB-49D3-9D3D-DD0CB0BAE18B}"/>
          </ac:spMkLst>
        </pc:spChg>
        <pc:spChg chg="mod">
          <ac:chgData name="Raimund" userId="0cf943988599aae0" providerId="LiveId" clId="{5B2BDD3B-4949-4CFF-A6BA-CF13E4F349F4}" dt="2022-04-25T20:40:06.202" v="371" actId="20577"/>
          <ac:spMkLst>
            <pc:docMk/>
            <pc:sldMk cId="2952351085" sldId="1859"/>
            <ac:spMk id="3" creationId="{104957BD-A3C5-4968-A58A-C82B2EB6B539}"/>
          </ac:spMkLst>
        </pc:spChg>
      </pc:sldChg>
      <pc:sldChg chg="ord">
        <pc:chgData name="Raimund" userId="0cf943988599aae0" providerId="LiveId" clId="{5B2BDD3B-4949-4CFF-A6BA-CF13E4F349F4}" dt="2022-04-25T20:20:29.236" v="254"/>
        <pc:sldMkLst>
          <pc:docMk/>
          <pc:sldMk cId="2941554335" sldId="2140"/>
        </pc:sldMkLst>
      </pc:sldChg>
      <pc:sldChg chg="modSp add mod ord">
        <pc:chgData name="Raimund" userId="0cf943988599aae0" providerId="LiveId" clId="{5B2BDD3B-4949-4CFF-A6BA-CF13E4F349F4}" dt="2022-04-25T18:32:10.980" v="44" actId="20577"/>
        <pc:sldMkLst>
          <pc:docMk/>
          <pc:sldMk cId="4139719271" sldId="2147"/>
        </pc:sldMkLst>
        <pc:spChg chg="mod">
          <ac:chgData name="Raimund" userId="0cf943988599aae0" providerId="LiveId" clId="{5B2BDD3B-4949-4CFF-A6BA-CF13E4F349F4}" dt="2022-04-25T18:32:10.980" v="44" actId="20577"/>
          <ac:spMkLst>
            <pc:docMk/>
            <pc:sldMk cId="4139719271" sldId="2147"/>
            <ac:spMk id="2" creationId="{0CED1F24-0E42-4CEB-8F7B-D9267C83299F}"/>
          </ac:spMkLst>
        </pc:spChg>
      </pc:sldChg>
    </pc:docChg>
  </pc:docChgLst>
  <pc:docChgLst>
    <pc:chgData name="Raimund Andrée" userId="0cf943988599aae0" providerId="LiveId" clId="{5454D21B-7497-408C-9191-1003A31FD4AF}"/>
    <pc:docChg chg="undo custSel addSld delSld modSld sldOrd modMainMaster modSection">
      <pc:chgData name="Raimund Andrée" userId="0cf943988599aae0" providerId="LiveId" clId="{5454D21B-7497-408C-9191-1003A31FD4AF}" dt="2022-04-25T12:36:33.910" v="430" actId="700"/>
      <pc:docMkLst>
        <pc:docMk/>
      </pc:docMkLst>
      <pc:sldChg chg="modSp mod">
        <pc:chgData name="Raimund Andrée" userId="0cf943988599aae0" providerId="LiveId" clId="{5454D21B-7497-408C-9191-1003A31FD4AF}" dt="2022-04-24T17:08:09.254" v="5" actId="20577"/>
        <pc:sldMkLst>
          <pc:docMk/>
          <pc:sldMk cId="4014814200" sldId="1852"/>
        </pc:sldMkLst>
        <pc:spChg chg="mod">
          <ac:chgData name="Raimund Andrée" userId="0cf943988599aae0" providerId="LiveId" clId="{5454D21B-7497-408C-9191-1003A31FD4AF}" dt="2022-04-24T17:08:04.404" v="2"/>
          <ac:spMkLst>
            <pc:docMk/>
            <pc:sldMk cId="4014814200" sldId="1852"/>
            <ac:spMk id="4" creationId="{00000000-0000-0000-0000-000000000000}"/>
          </ac:spMkLst>
        </pc:spChg>
        <pc:spChg chg="mod">
          <ac:chgData name="Raimund Andrée" userId="0cf943988599aae0" providerId="LiveId" clId="{5454D21B-7497-408C-9191-1003A31FD4AF}" dt="2022-04-24T17:08:09.254" v="5" actId="20577"/>
          <ac:spMkLst>
            <pc:docMk/>
            <pc:sldMk cId="4014814200" sldId="1852"/>
            <ac:spMk id="5" creationId="{00000000-0000-0000-0000-000000000000}"/>
          </ac:spMkLst>
        </pc:spChg>
      </pc:sldChg>
      <pc:sldChg chg="modSp mod">
        <pc:chgData name="Raimund Andrée" userId="0cf943988599aae0" providerId="LiveId" clId="{5454D21B-7497-408C-9191-1003A31FD4AF}" dt="2022-04-24T17:12:28.323" v="53" actId="12"/>
        <pc:sldMkLst>
          <pc:docMk/>
          <pc:sldMk cId="2980022429" sldId="1857"/>
        </pc:sldMkLst>
        <pc:spChg chg="mod">
          <ac:chgData name="Raimund Andrée" userId="0cf943988599aae0" providerId="LiveId" clId="{5454D21B-7497-408C-9191-1003A31FD4AF}" dt="2022-04-24T17:12:28.323" v="53" actId="12"/>
          <ac:spMkLst>
            <pc:docMk/>
            <pc:sldMk cId="2980022429" sldId="1857"/>
            <ac:spMk id="3" creationId="{CF5FA86A-3E84-4208-8635-5EEDEAF9EFB9}"/>
          </ac:spMkLst>
        </pc:spChg>
      </pc:sldChg>
      <pc:sldChg chg="modSp mod ord chgLayout">
        <pc:chgData name="Raimund Andrée" userId="0cf943988599aae0" providerId="LiveId" clId="{5454D21B-7497-408C-9191-1003A31FD4AF}" dt="2022-04-24T18:23:18.315" v="208"/>
        <pc:sldMkLst>
          <pc:docMk/>
          <pc:sldMk cId="58030208" sldId="1858"/>
        </pc:sldMkLst>
        <pc:spChg chg="mod ord">
          <ac:chgData name="Raimund Andrée" userId="0cf943988599aae0" providerId="LiveId" clId="{5454D21B-7497-408C-9191-1003A31FD4AF}" dt="2022-04-24T18:19:18.153" v="203" actId="700"/>
          <ac:spMkLst>
            <pc:docMk/>
            <pc:sldMk cId="58030208" sldId="1858"/>
            <ac:spMk id="2" creationId="{DD055F16-DF30-4B00-9BEB-9725344D8307}"/>
          </ac:spMkLst>
        </pc:spChg>
        <pc:spChg chg="mod ord">
          <ac:chgData name="Raimund Andrée" userId="0cf943988599aae0" providerId="LiveId" clId="{5454D21B-7497-408C-9191-1003A31FD4AF}" dt="2022-04-24T18:19:36.518" v="204" actId="12"/>
          <ac:spMkLst>
            <pc:docMk/>
            <pc:sldMk cId="58030208" sldId="1858"/>
            <ac:spMk id="3" creationId="{DAE7BC2A-793A-4B4B-91A9-7BB1207D9EB0}"/>
          </ac:spMkLst>
        </pc:spChg>
      </pc:sldChg>
      <pc:sldChg chg="add modNotesTx">
        <pc:chgData name="Raimund Andrée" userId="0cf943988599aae0" providerId="LiveId" clId="{5454D21B-7497-408C-9191-1003A31FD4AF}" dt="2022-04-25T11:46:53.688" v="289" actId="6549"/>
        <pc:sldMkLst>
          <pc:docMk/>
          <pc:sldMk cId="2952351085" sldId="1859"/>
        </pc:sldMkLst>
      </pc:sldChg>
      <pc:sldChg chg="del">
        <pc:chgData name="Raimund Andrée" userId="0cf943988599aae0" providerId="LiveId" clId="{5454D21B-7497-408C-9191-1003A31FD4AF}" dt="2022-04-25T11:46:10.839" v="287" actId="2696"/>
        <pc:sldMkLst>
          <pc:docMk/>
          <pc:sldMk cId="4102932612" sldId="1859"/>
        </pc:sldMkLst>
      </pc:sldChg>
      <pc:sldChg chg="modSp mod">
        <pc:chgData name="Raimund Andrée" userId="0cf943988599aae0" providerId="LiveId" clId="{5454D21B-7497-408C-9191-1003A31FD4AF}" dt="2022-04-24T18:18:26.424" v="182" actId="14100"/>
        <pc:sldMkLst>
          <pc:docMk/>
          <pc:sldMk cId="588787710" sldId="1864"/>
        </pc:sldMkLst>
        <pc:spChg chg="mod">
          <ac:chgData name="Raimund Andrée" userId="0cf943988599aae0" providerId="LiveId" clId="{5454D21B-7497-408C-9191-1003A31FD4AF}" dt="2022-04-24T18:05:14.590" v="75" actId="20577"/>
          <ac:spMkLst>
            <pc:docMk/>
            <pc:sldMk cId="588787710" sldId="1864"/>
            <ac:spMk id="2" creationId="{59E38BBB-4601-49C6-971F-F4FF7A667122}"/>
          </ac:spMkLst>
        </pc:spChg>
        <pc:spChg chg="mod">
          <ac:chgData name="Raimund Andrée" userId="0cf943988599aae0" providerId="LiveId" clId="{5454D21B-7497-408C-9191-1003A31FD4AF}" dt="2022-04-24T18:18:26.424" v="182" actId="14100"/>
          <ac:spMkLst>
            <pc:docMk/>
            <pc:sldMk cId="588787710" sldId="1864"/>
            <ac:spMk id="3" creationId="{F77CB6CD-E0D1-4266-9A84-04C7B8EB3FC7}"/>
          </ac:spMkLst>
        </pc:spChg>
      </pc:sldChg>
      <pc:sldChg chg="addSp delSp modSp mod chgLayout">
        <pc:chgData name="Raimund Andrée" userId="0cf943988599aae0" providerId="LiveId" clId="{5454D21B-7497-408C-9191-1003A31FD4AF}" dt="2022-04-25T12:36:33.910" v="430" actId="700"/>
        <pc:sldMkLst>
          <pc:docMk/>
          <pc:sldMk cId="2466814432" sldId="1865"/>
        </pc:sldMkLst>
        <pc:spChg chg="mod ord">
          <ac:chgData name="Raimund Andrée" userId="0cf943988599aae0" providerId="LiveId" clId="{5454D21B-7497-408C-9191-1003A31FD4AF}" dt="2022-04-25T12:36:33.910" v="430" actId="700"/>
          <ac:spMkLst>
            <pc:docMk/>
            <pc:sldMk cId="2466814432" sldId="1865"/>
            <ac:spMk id="2" creationId="{D0F0BC6B-21A9-4774-A6F9-A5DDA985AD99}"/>
          </ac:spMkLst>
        </pc:spChg>
        <pc:spChg chg="mod ord">
          <ac:chgData name="Raimund Andrée" userId="0cf943988599aae0" providerId="LiveId" clId="{5454D21B-7497-408C-9191-1003A31FD4AF}" dt="2022-04-25T12:36:33.910" v="430" actId="700"/>
          <ac:spMkLst>
            <pc:docMk/>
            <pc:sldMk cId="2466814432" sldId="1865"/>
            <ac:spMk id="5" creationId="{D8B9C894-4439-45FC-8DB0-D94C08169FD1}"/>
          </ac:spMkLst>
        </pc:spChg>
        <pc:spChg chg="add mod">
          <ac:chgData name="Raimund Andrée" userId="0cf943988599aae0" providerId="LiveId" clId="{5454D21B-7497-408C-9191-1003A31FD4AF}" dt="2022-04-25T12:27:52.601" v="409" actId="1076"/>
          <ac:spMkLst>
            <pc:docMk/>
            <pc:sldMk cId="2466814432" sldId="1865"/>
            <ac:spMk id="8" creationId="{C497C826-6029-4FA9-87EB-0001823A67CE}"/>
          </ac:spMkLst>
        </pc:spChg>
        <pc:spChg chg="add mod">
          <ac:chgData name="Raimund Andrée" userId="0cf943988599aae0" providerId="LiveId" clId="{5454D21B-7497-408C-9191-1003A31FD4AF}" dt="2022-04-25T12:27:52.601" v="409" actId="1076"/>
          <ac:spMkLst>
            <pc:docMk/>
            <pc:sldMk cId="2466814432" sldId="1865"/>
            <ac:spMk id="9" creationId="{7AE7269C-246D-4530-8443-7C7D82878556}"/>
          </ac:spMkLst>
        </pc:spChg>
        <pc:graphicFrameChg chg="del">
          <ac:chgData name="Raimund Andrée" userId="0cf943988599aae0" providerId="LiveId" clId="{5454D21B-7497-408C-9191-1003A31FD4AF}" dt="2022-04-24T17:24:09.849" v="54" actId="478"/>
          <ac:graphicFrameMkLst>
            <pc:docMk/>
            <pc:sldMk cId="2466814432" sldId="1865"/>
            <ac:graphicFrameMk id="3" creationId="{A60E538A-120E-432A-BF58-BF2F555B6E2A}"/>
          </ac:graphicFrameMkLst>
        </pc:graphicFrameChg>
        <pc:graphicFrameChg chg="del">
          <ac:chgData name="Raimund Andrée" userId="0cf943988599aae0" providerId="LiveId" clId="{5454D21B-7497-408C-9191-1003A31FD4AF}" dt="2022-04-24T17:24:13.156" v="55" actId="478"/>
          <ac:graphicFrameMkLst>
            <pc:docMk/>
            <pc:sldMk cId="2466814432" sldId="1865"/>
            <ac:graphicFrameMk id="4" creationId="{BFACABCE-4D92-4E6C-A62C-D121749B6336}"/>
          </ac:graphicFrameMkLst>
        </pc:graphicFrameChg>
        <pc:graphicFrameChg chg="add mod">
          <ac:chgData name="Raimund Andrée" userId="0cf943988599aae0" providerId="LiveId" clId="{5454D21B-7497-408C-9191-1003A31FD4AF}" dt="2022-04-25T12:27:52.601" v="409" actId="1076"/>
          <ac:graphicFrameMkLst>
            <pc:docMk/>
            <pc:sldMk cId="2466814432" sldId="1865"/>
            <ac:graphicFrameMk id="6" creationId="{0C6CABF0-242A-4FC6-A979-2B9510D3A82B}"/>
          </ac:graphicFrameMkLst>
        </pc:graphicFrameChg>
        <pc:graphicFrameChg chg="mod">
          <ac:chgData name="Raimund Andrée" userId="0cf943988599aae0" providerId="LiveId" clId="{5454D21B-7497-408C-9191-1003A31FD4AF}" dt="2022-04-25T12:27:52.601" v="409" actId="1076"/>
          <ac:graphicFrameMkLst>
            <pc:docMk/>
            <pc:sldMk cId="2466814432" sldId="1865"/>
            <ac:graphicFrameMk id="7" creationId="{FD38C384-EBC3-4F11-8089-7161316B798C}"/>
          </ac:graphicFrameMkLst>
        </pc:graphicFrameChg>
      </pc:sldChg>
      <pc:sldChg chg="addSp delSp modSp add mod addAnim delAnim modAnim">
        <pc:chgData name="Raimund Andrée" userId="0cf943988599aae0" providerId="LiveId" clId="{5454D21B-7497-408C-9191-1003A31FD4AF}" dt="2022-04-25T12:10:29.202" v="408" actId="12100"/>
        <pc:sldMkLst>
          <pc:docMk/>
          <pc:sldMk cId="107012821" sldId="1871"/>
        </pc:sldMkLst>
        <pc:spChg chg="add del mod">
          <ac:chgData name="Raimund Andrée" userId="0cf943988599aae0" providerId="LiveId" clId="{5454D21B-7497-408C-9191-1003A31FD4AF}" dt="2022-04-25T11:48:18.551" v="319" actId="12084"/>
          <ac:spMkLst>
            <pc:docMk/>
            <pc:sldMk cId="107012821" sldId="1871"/>
            <ac:spMk id="3" creationId="{D292DC0D-8D83-4F76-ABCA-E4DC7502549D}"/>
          </ac:spMkLst>
        </pc:spChg>
        <pc:spChg chg="del">
          <ac:chgData name="Raimund Andrée" userId="0cf943988599aae0" providerId="LiveId" clId="{5454D21B-7497-408C-9191-1003A31FD4AF}" dt="2022-04-25T11:49:08.602" v="359" actId="478"/>
          <ac:spMkLst>
            <pc:docMk/>
            <pc:sldMk cId="107012821" sldId="1871"/>
            <ac:spMk id="5" creationId="{C553AE8C-4995-4C88-8D0B-FD5A8201C1BC}"/>
          </ac:spMkLst>
        </pc:spChg>
        <pc:spChg chg="del mod">
          <ac:chgData name="Raimund Andrée" userId="0cf943988599aae0" providerId="LiveId" clId="{5454D21B-7497-408C-9191-1003A31FD4AF}" dt="2022-04-25T11:49:08.602" v="359" actId="478"/>
          <ac:spMkLst>
            <pc:docMk/>
            <pc:sldMk cId="107012821" sldId="1871"/>
            <ac:spMk id="6" creationId="{0534CB01-06C3-4A0B-B3F6-0A204E6DF654}"/>
          </ac:spMkLst>
        </pc:spChg>
        <pc:spChg chg="del">
          <ac:chgData name="Raimund Andrée" userId="0cf943988599aae0" providerId="LiveId" clId="{5454D21B-7497-408C-9191-1003A31FD4AF}" dt="2022-04-25T11:49:08.602" v="359" actId="478"/>
          <ac:spMkLst>
            <pc:docMk/>
            <pc:sldMk cId="107012821" sldId="1871"/>
            <ac:spMk id="7" creationId="{D39C018C-4AEA-46AF-9A85-B3ABCFCAA822}"/>
          </ac:spMkLst>
        </pc:spChg>
        <pc:spChg chg="del">
          <ac:chgData name="Raimund Andrée" userId="0cf943988599aae0" providerId="LiveId" clId="{5454D21B-7497-408C-9191-1003A31FD4AF}" dt="2022-04-25T11:49:08.602" v="359" actId="478"/>
          <ac:spMkLst>
            <pc:docMk/>
            <pc:sldMk cId="107012821" sldId="1871"/>
            <ac:spMk id="8" creationId="{8BBAA060-C276-4FDD-B08B-1BFF455FB2DD}"/>
          </ac:spMkLst>
        </pc:spChg>
        <pc:spChg chg="mod">
          <ac:chgData name="Raimund Andrée" userId="0cf943988599aae0" providerId="LiveId" clId="{5454D21B-7497-408C-9191-1003A31FD4AF}" dt="2022-04-25T12:03:49.708" v="391" actId="1076"/>
          <ac:spMkLst>
            <pc:docMk/>
            <pc:sldMk cId="107012821" sldId="1871"/>
            <ac:spMk id="9" creationId="{38BCB2BB-3A15-416B-89BF-A457A42E15E5}"/>
          </ac:spMkLst>
        </pc:spChg>
        <pc:spChg chg="mod">
          <ac:chgData name="Raimund Andrée" userId="0cf943988599aae0" providerId="LiveId" clId="{5454D21B-7497-408C-9191-1003A31FD4AF}" dt="2022-04-25T12:03:51.701" v="392" actId="1076"/>
          <ac:spMkLst>
            <pc:docMk/>
            <pc:sldMk cId="107012821" sldId="1871"/>
            <ac:spMk id="10" creationId="{691ED13B-6614-4A42-A764-B3126BC0DAE0}"/>
          </ac:spMkLst>
        </pc:spChg>
        <pc:spChg chg="mod">
          <ac:chgData name="Raimund Andrée" userId="0cf943988599aae0" providerId="LiveId" clId="{5454D21B-7497-408C-9191-1003A31FD4AF}" dt="2022-04-25T12:03:54.039" v="393" actId="1076"/>
          <ac:spMkLst>
            <pc:docMk/>
            <pc:sldMk cId="107012821" sldId="1871"/>
            <ac:spMk id="11" creationId="{08C20D42-1D57-4D94-84EF-D4DCDCF4467A}"/>
          </ac:spMkLst>
        </pc:spChg>
        <pc:spChg chg="mod">
          <ac:chgData name="Raimund Andrée" userId="0cf943988599aae0" providerId="LiveId" clId="{5454D21B-7497-408C-9191-1003A31FD4AF}" dt="2022-04-25T12:03:56.943" v="394" actId="1076"/>
          <ac:spMkLst>
            <pc:docMk/>
            <pc:sldMk cId="107012821" sldId="1871"/>
            <ac:spMk id="12" creationId="{452C6BEB-5150-40F6-9A48-ACB2F94D92BE}"/>
          </ac:spMkLst>
        </pc:spChg>
        <pc:spChg chg="add del mod">
          <ac:chgData name="Raimund Andrée" userId="0cf943988599aae0" providerId="LiveId" clId="{5454D21B-7497-408C-9191-1003A31FD4AF}" dt="2022-04-25T12:03:59.156" v="395" actId="1076"/>
          <ac:spMkLst>
            <pc:docMk/>
            <pc:sldMk cId="107012821" sldId="1871"/>
            <ac:spMk id="13" creationId="{A316332F-316B-44DD-84E4-BDF0B2FEFEFB}"/>
          </ac:spMkLst>
        </pc:spChg>
        <pc:spChg chg="add del mod">
          <ac:chgData name="Raimund Andrée" userId="0cf943988599aae0" providerId="LiveId" clId="{5454D21B-7497-408C-9191-1003A31FD4AF}" dt="2022-04-25T12:03:30.082" v="378"/>
          <ac:spMkLst>
            <pc:docMk/>
            <pc:sldMk cId="107012821" sldId="1871"/>
            <ac:spMk id="21" creationId="{93B718E2-A9B9-49C8-B9B1-F9068D6C5324}"/>
          </ac:spMkLst>
        </pc:spChg>
        <pc:spChg chg="add del mod">
          <ac:chgData name="Raimund Andrée" userId="0cf943988599aae0" providerId="LiveId" clId="{5454D21B-7497-408C-9191-1003A31FD4AF}" dt="2022-04-25T12:03:29.924" v="377"/>
          <ac:spMkLst>
            <pc:docMk/>
            <pc:sldMk cId="107012821" sldId="1871"/>
            <ac:spMk id="22" creationId="{76515820-7341-4F61-A292-FCB758DEFADF}"/>
          </ac:spMkLst>
        </pc:spChg>
        <pc:spChg chg="add del mod">
          <ac:chgData name="Raimund Andrée" userId="0cf943988599aae0" providerId="LiveId" clId="{5454D21B-7497-408C-9191-1003A31FD4AF}" dt="2022-04-25T12:03:29.814" v="376"/>
          <ac:spMkLst>
            <pc:docMk/>
            <pc:sldMk cId="107012821" sldId="1871"/>
            <ac:spMk id="23" creationId="{D8774331-CD18-47D7-B0CC-35A8E1456D67}"/>
          </ac:spMkLst>
        </pc:spChg>
        <pc:spChg chg="add mod">
          <ac:chgData name="Raimund Andrée" userId="0cf943988599aae0" providerId="LiveId" clId="{5454D21B-7497-408C-9191-1003A31FD4AF}" dt="2022-04-25T12:04:25.458" v="407" actId="1076"/>
          <ac:spMkLst>
            <pc:docMk/>
            <pc:sldMk cId="107012821" sldId="1871"/>
            <ac:spMk id="24" creationId="{2CDD1079-BBE5-4F09-AC31-E79146522AE9}"/>
          </ac:spMkLst>
        </pc:spChg>
        <pc:graphicFrameChg chg="add mod">
          <ac:chgData name="Raimund Andrée" userId="0cf943988599aae0" providerId="LiveId" clId="{5454D21B-7497-408C-9191-1003A31FD4AF}" dt="2022-04-25T12:10:29.202" v="408" actId="12100"/>
          <ac:graphicFrameMkLst>
            <pc:docMk/>
            <pc:sldMk cId="107012821" sldId="1871"/>
            <ac:graphicFrameMk id="4" creationId="{01B4F45E-BA13-48A8-A11D-7F303BDCD1D6}"/>
          </ac:graphicFrameMkLst>
        </pc:graphicFrameChg>
        <pc:picChg chg="mod">
          <ac:chgData name="Raimund Andrée" userId="0cf943988599aae0" providerId="LiveId" clId="{5454D21B-7497-408C-9191-1003A31FD4AF}" dt="2022-04-25T12:02:33.784" v="362" actId="1076"/>
          <ac:picMkLst>
            <pc:docMk/>
            <pc:sldMk cId="107012821" sldId="1871"/>
            <ac:picMk id="15" creationId="{81EE308F-1D66-44BD-96C7-A40B26F465D5}"/>
          </ac:picMkLst>
        </pc:picChg>
        <pc:picChg chg="mod">
          <ac:chgData name="Raimund Andrée" userId="0cf943988599aae0" providerId="LiveId" clId="{5454D21B-7497-408C-9191-1003A31FD4AF}" dt="2022-04-25T12:02:45.191" v="364" actId="1076"/>
          <ac:picMkLst>
            <pc:docMk/>
            <pc:sldMk cId="107012821" sldId="1871"/>
            <ac:picMk id="16" creationId="{5BF3B0BF-BB88-4FB6-ACD7-7EF647D3E552}"/>
          </ac:picMkLst>
        </pc:picChg>
      </pc:sldChg>
      <pc:sldChg chg="del">
        <pc:chgData name="Raimund Andrée" userId="0cf943988599aae0" providerId="LiveId" clId="{5454D21B-7497-408C-9191-1003A31FD4AF}" dt="2022-04-25T11:46:10.839" v="287" actId="2696"/>
        <pc:sldMkLst>
          <pc:docMk/>
          <pc:sldMk cId="340011927" sldId="1871"/>
        </pc:sldMkLst>
      </pc:sldChg>
      <pc:sldChg chg="modSp mod">
        <pc:chgData name="Raimund Andrée" userId="0cf943988599aae0" providerId="LiveId" clId="{5454D21B-7497-408C-9191-1003A31FD4AF}" dt="2022-04-24T18:25:30.677" v="286" actId="12"/>
        <pc:sldMkLst>
          <pc:docMk/>
          <pc:sldMk cId="3752681306" sldId="2141"/>
        </pc:sldMkLst>
        <pc:spChg chg="mod">
          <ac:chgData name="Raimund Andrée" userId="0cf943988599aae0" providerId="LiveId" clId="{5454D21B-7497-408C-9191-1003A31FD4AF}" dt="2022-04-24T18:25:30.677" v="286" actId="12"/>
          <ac:spMkLst>
            <pc:docMk/>
            <pc:sldMk cId="3752681306" sldId="2141"/>
            <ac:spMk id="3" creationId="{3D016CAB-EFE7-4C92-9B4B-BAA9919600E6}"/>
          </ac:spMkLst>
        </pc:spChg>
      </pc:sldChg>
      <pc:sldChg chg="del">
        <pc:chgData name="Raimund Andrée" userId="0cf943988599aae0" providerId="LiveId" clId="{5454D21B-7497-408C-9191-1003A31FD4AF}" dt="2022-04-25T11:46:10.839" v="287" actId="2696"/>
        <pc:sldMkLst>
          <pc:docMk/>
          <pc:sldMk cId="525825594" sldId="2142"/>
        </pc:sldMkLst>
      </pc:sldChg>
      <pc:sldChg chg="add">
        <pc:chgData name="Raimund Andrée" userId="0cf943988599aae0" providerId="LiveId" clId="{5454D21B-7497-408C-9191-1003A31FD4AF}" dt="2022-04-25T11:46:14.542" v="288"/>
        <pc:sldMkLst>
          <pc:docMk/>
          <pc:sldMk cId="1732882812" sldId="2142"/>
        </pc:sldMkLst>
      </pc:sldChg>
      <pc:sldChg chg="addSp delSp modSp add mod delAnim modAnim chgLayout">
        <pc:chgData name="Raimund Andrée" userId="0cf943988599aae0" providerId="LiveId" clId="{5454D21B-7497-408C-9191-1003A31FD4AF}" dt="2022-04-24T18:10:59.600" v="139" actId="207"/>
        <pc:sldMkLst>
          <pc:docMk/>
          <pc:sldMk cId="1319920306" sldId="2146"/>
        </pc:sldMkLst>
        <pc:spChg chg="mod ord">
          <ac:chgData name="Raimund Andrée" userId="0cf943988599aae0" providerId="LiveId" clId="{5454D21B-7497-408C-9191-1003A31FD4AF}" dt="2022-04-24T18:08:23.540" v="135" actId="700"/>
          <ac:spMkLst>
            <pc:docMk/>
            <pc:sldMk cId="1319920306" sldId="2146"/>
            <ac:spMk id="2" creationId="{59E38BBB-4601-49C6-971F-F4FF7A667122}"/>
          </ac:spMkLst>
        </pc:spChg>
        <pc:spChg chg="mod ord">
          <ac:chgData name="Raimund Andrée" userId="0cf943988599aae0" providerId="LiveId" clId="{5454D21B-7497-408C-9191-1003A31FD4AF}" dt="2022-04-24T18:10:59.600" v="139" actId="207"/>
          <ac:spMkLst>
            <pc:docMk/>
            <pc:sldMk cId="1319920306" sldId="2146"/>
            <ac:spMk id="3" creationId="{F77CB6CD-E0D1-4266-9A84-04C7B8EB3FC7}"/>
          </ac:spMkLst>
        </pc:spChg>
        <pc:spChg chg="del">
          <ac:chgData name="Raimund Andrée" userId="0cf943988599aae0" providerId="LiveId" clId="{5454D21B-7497-408C-9191-1003A31FD4AF}" dt="2022-04-24T18:07:28.306" v="108" actId="478"/>
          <ac:spMkLst>
            <pc:docMk/>
            <pc:sldMk cId="1319920306" sldId="2146"/>
            <ac:spMk id="4" creationId="{8AAD45A7-D023-408A-BF7F-AEBD070928A4}"/>
          </ac:spMkLst>
        </pc:spChg>
        <pc:spChg chg="add del mod">
          <ac:chgData name="Raimund Andrée" userId="0cf943988599aae0" providerId="LiveId" clId="{5454D21B-7497-408C-9191-1003A31FD4AF}" dt="2022-04-24T18:07:41.091" v="115"/>
          <ac:spMkLst>
            <pc:docMk/>
            <pc:sldMk cId="1319920306" sldId="2146"/>
            <ac:spMk id="5" creationId="{50FC26DF-166F-4BC2-A168-CE344212BD33}"/>
          </ac:spMkLst>
        </pc:spChg>
        <pc:spChg chg="add mod">
          <ac:chgData name="Raimund Andrée" userId="0cf943988599aae0" providerId="LiveId" clId="{5454D21B-7497-408C-9191-1003A31FD4AF}" dt="2022-04-24T18:08:51.370" v="138" actId="14100"/>
          <ac:spMkLst>
            <pc:docMk/>
            <pc:sldMk cId="1319920306" sldId="2146"/>
            <ac:spMk id="6" creationId="{31FBB5E9-B2E5-4C52-B25F-6D1EB619AB13}"/>
          </ac:spMkLst>
        </pc:spChg>
        <pc:spChg chg="add mod ord">
          <ac:chgData name="Raimund Andrée" userId="0cf943988599aae0" providerId="LiveId" clId="{5454D21B-7497-408C-9191-1003A31FD4AF}" dt="2022-04-24T18:08:46.330" v="137" actId="167"/>
          <ac:spMkLst>
            <pc:docMk/>
            <pc:sldMk cId="1319920306" sldId="2146"/>
            <ac:spMk id="7" creationId="{573B3921-02A0-493F-82E9-5FC50C96B982}"/>
          </ac:spMkLst>
        </pc:spChg>
      </pc:sldChg>
      <pc:sldMasterChg chg="modSldLayout">
        <pc:chgData name="Raimund Andrée" userId="0cf943988599aae0" providerId="LiveId" clId="{5454D21B-7497-408C-9191-1003A31FD4AF}" dt="2022-04-24T18:08:12.616" v="134" actId="1076"/>
        <pc:sldMasterMkLst>
          <pc:docMk/>
          <pc:sldMasterMk cId="3588427678" sldId="2147484229"/>
        </pc:sldMasterMkLst>
        <pc:sldLayoutChg chg="modSp mod">
          <pc:chgData name="Raimund Andrée" userId="0cf943988599aae0" providerId="LiveId" clId="{5454D21B-7497-408C-9191-1003A31FD4AF}" dt="2022-04-24T18:08:12.616" v="134" actId="1076"/>
          <pc:sldLayoutMkLst>
            <pc:docMk/>
            <pc:sldMasterMk cId="3588427678" sldId="2147484229"/>
            <pc:sldLayoutMk cId="1531337368" sldId="2147484240"/>
          </pc:sldLayoutMkLst>
          <pc:spChg chg="mod">
            <ac:chgData name="Raimund Andrée" userId="0cf943988599aae0" providerId="LiveId" clId="{5454D21B-7497-408C-9191-1003A31FD4AF}" dt="2022-04-24T18:08:12.616" v="134" actId="1076"/>
            <ac:spMkLst>
              <pc:docMk/>
              <pc:sldMasterMk cId="3588427678" sldId="2147484229"/>
              <pc:sldLayoutMk cId="1531337368" sldId="2147484240"/>
              <ac:spMk id="4" creationId="{00000000-0000-0000-0000-000000000000}"/>
            </ac:spMkLst>
          </pc:spChg>
          <pc:spChg chg="mod">
            <ac:chgData name="Raimund Andrée" userId="0cf943988599aae0" providerId="LiveId" clId="{5454D21B-7497-408C-9191-1003A31FD4AF}" dt="2022-04-24T18:08:07.883" v="133" actId="1035"/>
            <ac:spMkLst>
              <pc:docMk/>
              <pc:sldMasterMk cId="3588427678" sldId="2147484229"/>
              <pc:sldLayoutMk cId="1531337368" sldId="2147484240"/>
              <ac:spMk id="7" creationId="{34B655BA-10A4-4A57-89DB-CFFBE1CA1E33}"/>
            </ac:spMkLst>
          </pc:spChg>
        </pc:sldLayoutChg>
      </pc:sldMasterChg>
    </pc:docChg>
  </pc:docChgLst>
  <pc:docChgLst>
    <pc:chgData name="Raimund Andrée" userId="0cf943988599aae0" providerId="LiveId" clId="{922B7DBE-531B-4ABF-9316-CC5FCF3C1013}"/>
    <pc:docChg chg="undo custSel addSld delSld modSld sldOrd modSection">
      <pc:chgData name="Raimund Andrée" userId="0cf943988599aae0" providerId="LiveId" clId="{922B7DBE-531B-4ABF-9316-CC5FCF3C1013}" dt="2019-09-19T08:30:45.538" v="555" actId="17846"/>
      <pc:docMkLst>
        <pc:docMk/>
      </pc:docMkLst>
      <pc:sldChg chg="modSp add del">
        <pc:chgData name="Raimund Andrée" userId="0cf943988599aae0" providerId="LiveId" clId="{922B7DBE-531B-4ABF-9316-CC5FCF3C1013}" dt="2019-09-19T03:26:54.891" v="288"/>
        <pc:sldMkLst>
          <pc:docMk/>
          <pc:sldMk cId="3089228040" sldId="259"/>
        </pc:sldMkLst>
        <pc:spChg chg="mod">
          <ac:chgData name="Raimund Andrée" userId="0cf943988599aae0" providerId="LiveId" clId="{922B7DBE-531B-4ABF-9316-CC5FCF3C1013}" dt="2019-09-19T03:26:54.293" v="287"/>
          <ac:spMkLst>
            <pc:docMk/>
            <pc:sldMk cId="3089228040" sldId="259"/>
            <ac:spMk id="4" creationId="{6EF07137-5EA9-4A26-9AEE-D947CFE284D0}"/>
          </ac:spMkLst>
        </pc:spChg>
      </pc:sldChg>
      <pc:sldChg chg="add del">
        <pc:chgData name="Raimund Andrée" userId="0cf943988599aae0" providerId="LiveId" clId="{922B7DBE-531B-4ABF-9316-CC5FCF3C1013}" dt="2019-09-19T03:26:54.891" v="288"/>
        <pc:sldMkLst>
          <pc:docMk/>
          <pc:sldMk cId="1586436973" sldId="260"/>
        </pc:sldMkLst>
      </pc:sldChg>
      <pc:sldChg chg="modSp del modNotesTx">
        <pc:chgData name="Raimund Andrée" userId="0cf943988599aae0" providerId="LiveId" clId="{922B7DBE-531B-4ABF-9316-CC5FCF3C1013}" dt="2019-09-19T08:29:43.709" v="550" actId="2696"/>
        <pc:sldMkLst>
          <pc:docMk/>
          <pc:sldMk cId="356421108" sldId="1362"/>
        </pc:sldMkLst>
        <pc:spChg chg="mod">
          <ac:chgData name="Raimund Andrée" userId="0cf943988599aae0" providerId="LiveId" clId="{922B7DBE-531B-4ABF-9316-CC5FCF3C1013}" dt="2019-09-19T04:03:35.869" v="354" actId="20577"/>
          <ac:spMkLst>
            <pc:docMk/>
            <pc:sldMk cId="356421108" sldId="1362"/>
            <ac:spMk id="3" creationId="{0EB5A4A4-7772-4665-9792-09D13F72C4A1}"/>
          </ac:spMkLst>
        </pc:spChg>
      </pc:sldChg>
      <pc:sldChg chg="modSp">
        <pc:chgData name="Raimund Andrée" userId="0cf943988599aae0" providerId="LiveId" clId="{922B7DBE-531B-4ABF-9316-CC5FCF3C1013}" dt="2019-09-19T03:17:04.286" v="270" actId="20577"/>
        <pc:sldMkLst>
          <pc:docMk/>
          <pc:sldMk cId="2892219758" sldId="1845"/>
        </pc:sldMkLst>
        <pc:spChg chg="mod">
          <ac:chgData name="Raimund Andrée" userId="0cf943988599aae0" providerId="LiveId" clId="{922B7DBE-531B-4ABF-9316-CC5FCF3C1013}" dt="2019-09-19T03:17:04.286" v="270" actId="20577"/>
          <ac:spMkLst>
            <pc:docMk/>
            <pc:sldMk cId="2892219758" sldId="1845"/>
            <ac:spMk id="5" creationId="{00000000-0000-0000-0000-000000000000}"/>
          </ac:spMkLst>
        </pc:spChg>
      </pc:sldChg>
      <pc:sldChg chg="modNotesTx">
        <pc:chgData name="Raimund Andrée" userId="0cf943988599aae0" providerId="LiveId" clId="{922B7DBE-531B-4ABF-9316-CC5FCF3C1013}" dt="2019-09-19T08:30:21.636" v="554" actId="6549"/>
        <pc:sldMkLst>
          <pc:docMk/>
          <pc:sldMk cId="3491184216" sldId="1846"/>
        </pc:sldMkLst>
      </pc:sldChg>
      <pc:sldChg chg="del">
        <pc:chgData name="Raimund Andrée" userId="0cf943988599aae0" providerId="LiveId" clId="{922B7DBE-531B-4ABF-9316-CC5FCF3C1013}" dt="2019-09-19T03:16:14.853" v="265" actId="2696"/>
        <pc:sldMkLst>
          <pc:docMk/>
          <pc:sldMk cId="2490975161" sldId="1851"/>
        </pc:sldMkLst>
      </pc:sldChg>
      <pc:sldChg chg="addSp delSp modSp modNotesTx">
        <pc:chgData name="Raimund Andrée" userId="0cf943988599aae0" providerId="LiveId" clId="{922B7DBE-531B-4ABF-9316-CC5FCF3C1013}" dt="2019-09-19T03:27:00.524" v="289" actId="20577"/>
        <pc:sldMkLst>
          <pc:docMk/>
          <pc:sldMk cId="4014814200" sldId="1852"/>
        </pc:sldMkLst>
        <pc:spChg chg="add del mod">
          <ac:chgData name="Raimund Andrée" userId="0cf943988599aae0" providerId="LiveId" clId="{922B7DBE-531B-4ABF-9316-CC5FCF3C1013}" dt="2019-09-19T03:16:28.759" v="267" actId="478"/>
          <ac:spMkLst>
            <pc:docMk/>
            <pc:sldMk cId="4014814200" sldId="1852"/>
            <ac:spMk id="3" creationId="{A4C7E948-1DFE-4934-AFCF-AB288F4F6141}"/>
          </ac:spMkLst>
        </pc:spChg>
        <pc:spChg chg="mod">
          <ac:chgData name="Raimund Andrée" userId="0cf943988599aae0" providerId="LiveId" clId="{922B7DBE-531B-4ABF-9316-CC5FCF3C1013}" dt="2019-09-19T02:59:31.096" v="1"/>
          <ac:spMkLst>
            <pc:docMk/>
            <pc:sldMk cId="4014814200" sldId="1852"/>
            <ac:spMk id="4" creationId="{00000000-0000-0000-0000-000000000000}"/>
          </ac:spMkLst>
        </pc:spChg>
        <pc:spChg chg="mod">
          <ac:chgData name="Raimund Andrée" userId="0cf943988599aae0" providerId="LiveId" clId="{922B7DBE-531B-4ABF-9316-CC5FCF3C1013}" dt="2019-09-19T02:59:54.192" v="68" actId="20577"/>
          <ac:spMkLst>
            <pc:docMk/>
            <pc:sldMk cId="4014814200" sldId="1852"/>
            <ac:spMk id="5" creationId="{00000000-0000-0000-0000-000000000000}"/>
          </ac:spMkLst>
        </pc:spChg>
        <pc:spChg chg="del">
          <ac:chgData name="Raimund Andrée" userId="0cf943988599aae0" providerId="LiveId" clId="{922B7DBE-531B-4ABF-9316-CC5FCF3C1013}" dt="2019-09-19T03:16:25.938" v="266" actId="478"/>
          <ac:spMkLst>
            <pc:docMk/>
            <pc:sldMk cId="4014814200" sldId="1852"/>
            <ac:spMk id="6" creationId="{93049F9C-243B-4EF3-9188-C214B7BB2EFF}"/>
          </ac:spMkLst>
        </pc:spChg>
      </pc:sldChg>
      <pc:sldChg chg="modNotesTx">
        <pc:chgData name="Raimund Andrée" userId="0cf943988599aae0" providerId="LiveId" clId="{922B7DBE-531B-4ABF-9316-CC5FCF3C1013}" dt="2019-09-19T03:17:24.216" v="271" actId="6549"/>
        <pc:sldMkLst>
          <pc:docMk/>
          <pc:sldMk cId="2980022429" sldId="1857"/>
        </pc:sldMkLst>
      </pc:sldChg>
      <pc:sldChg chg="modSp">
        <pc:chgData name="Raimund Andrée" userId="0cf943988599aae0" providerId="LiveId" clId="{922B7DBE-531B-4ABF-9316-CC5FCF3C1013}" dt="2019-09-19T08:10:45.230" v="547" actId="1076"/>
        <pc:sldMkLst>
          <pc:docMk/>
          <pc:sldMk cId="1238539000" sldId="1861"/>
        </pc:sldMkLst>
        <pc:spChg chg="mod">
          <ac:chgData name="Raimund Andrée" userId="0cf943988599aae0" providerId="LiveId" clId="{922B7DBE-531B-4ABF-9316-CC5FCF3C1013}" dt="2019-09-19T08:10:41.630" v="546" actId="20577"/>
          <ac:spMkLst>
            <pc:docMk/>
            <pc:sldMk cId="1238539000" sldId="1861"/>
            <ac:spMk id="2" creationId="{E931C568-D792-4146-B381-0A2908BCBF7D}"/>
          </ac:spMkLst>
        </pc:spChg>
        <pc:spChg chg="mod">
          <ac:chgData name="Raimund Andrée" userId="0cf943988599aae0" providerId="LiveId" clId="{922B7DBE-531B-4ABF-9316-CC5FCF3C1013}" dt="2019-09-19T08:10:45.230" v="547" actId="1076"/>
          <ac:spMkLst>
            <pc:docMk/>
            <pc:sldMk cId="1238539000" sldId="1861"/>
            <ac:spMk id="5" creationId="{EBCD6F05-064F-4666-8317-063C76EF3477}"/>
          </ac:spMkLst>
        </pc:spChg>
      </pc:sldChg>
      <pc:sldChg chg="modNotesTx">
        <pc:chgData name="Raimund Andrée" userId="0cf943988599aae0" providerId="LiveId" clId="{922B7DBE-531B-4ABF-9316-CC5FCF3C1013}" dt="2019-09-19T08:29:47.327" v="551" actId="20577"/>
        <pc:sldMkLst>
          <pc:docMk/>
          <pc:sldMk cId="162340734" sldId="1862"/>
        </pc:sldMkLst>
      </pc:sldChg>
      <pc:sldChg chg="modSp">
        <pc:chgData name="Raimund Andrée" userId="0cf943988599aae0" providerId="LiveId" clId="{922B7DBE-531B-4ABF-9316-CC5FCF3C1013}" dt="2019-09-19T03:57:57.779" v="318" actId="113"/>
        <pc:sldMkLst>
          <pc:docMk/>
          <pc:sldMk cId="3653333126" sldId="1866"/>
        </pc:sldMkLst>
        <pc:spChg chg="mod">
          <ac:chgData name="Raimund Andrée" userId="0cf943988599aae0" providerId="LiveId" clId="{922B7DBE-531B-4ABF-9316-CC5FCF3C1013}" dt="2019-09-19T03:57:41.581" v="317" actId="20577"/>
          <ac:spMkLst>
            <pc:docMk/>
            <pc:sldMk cId="3653333126" sldId="1866"/>
            <ac:spMk id="2" creationId="{D4211DE4-B398-46CB-B7FB-EF988E40ECF8}"/>
          </ac:spMkLst>
        </pc:spChg>
        <pc:spChg chg="mod">
          <ac:chgData name="Raimund Andrée" userId="0cf943988599aae0" providerId="LiveId" clId="{922B7DBE-531B-4ABF-9316-CC5FCF3C1013}" dt="2019-09-19T03:57:57.779" v="318" actId="113"/>
          <ac:spMkLst>
            <pc:docMk/>
            <pc:sldMk cId="3653333126" sldId="1866"/>
            <ac:spMk id="3" creationId="{EA4560D3-BB12-438F-87CA-4FE2F78C286F}"/>
          </ac:spMkLst>
        </pc:spChg>
      </pc:sldChg>
      <pc:sldChg chg="addSp delSp modSp ord">
        <pc:chgData name="Raimund Andrée" userId="0cf943988599aae0" providerId="LiveId" clId="{922B7DBE-531B-4ABF-9316-CC5FCF3C1013}" dt="2019-09-19T08:29:42.209" v="549"/>
        <pc:sldMkLst>
          <pc:docMk/>
          <pc:sldMk cId="3761477550" sldId="1868"/>
        </pc:sldMkLst>
        <pc:spChg chg="add del">
          <ac:chgData name="Raimund Andrée" userId="0cf943988599aae0" providerId="LiveId" clId="{922B7DBE-531B-4ABF-9316-CC5FCF3C1013}" dt="2019-09-19T04:03:50.769" v="356"/>
          <ac:spMkLst>
            <pc:docMk/>
            <pc:sldMk cId="3761477550" sldId="1868"/>
            <ac:spMk id="6" creationId="{1FC415AD-C715-4F12-972B-00E0E216AA3F}"/>
          </ac:spMkLst>
        </pc:spChg>
        <pc:spChg chg="add mod">
          <ac:chgData name="Raimund Andrée" userId="0cf943988599aae0" providerId="LiveId" clId="{922B7DBE-531B-4ABF-9316-CC5FCF3C1013}" dt="2019-09-19T04:04:35.749" v="403" actId="20577"/>
          <ac:spMkLst>
            <pc:docMk/>
            <pc:sldMk cId="3761477550" sldId="1868"/>
            <ac:spMk id="11" creationId="{5F550740-2069-4BAC-8576-9024B29A6B99}"/>
          </ac:spMkLst>
        </pc:spChg>
        <pc:picChg chg="mod">
          <ac:chgData name="Raimund Andrée" userId="0cf943988599aae0" providerId="LiveId" clId="{922B7DBE-531B-4ABF-9316-CC5FCF3C1013}" dt="2019-09-19T04:04:46.889" v="405" actId="1076"/>
          <ac:picMkLst>
            <pc:docMk/>
            <pc:sldMk cId="3761477550" sldId="1868"/>
            <ac:picMk id="8" creationId="{6DD24551-31A1-46C7-9BE6-6539B658ED6E}"/>
          </ac:picMkLst>
        </pc:picChg>
        <pc:picChg chg="mod">
          <ac:chgData name="Raimund Andrée" userId="0cf943988599aae0" providerId="LiveId" clId="{922B7DBE-531B-4ABF-9316-CC5FCF3C1013}" dt="2019-09-19T04:04:17.074" v="381" actId="1036"/>
          <ac:picMkLst>
            <pc:docMk/>
            <pc:sldMk cId="3761477550" sldId="1868"/>
            <ac:picMk id="9" creationId="{75C0CD6C-DC45-4B77-BACB-01707731A44F}"/>
          </ac:picMkLst>
        </pc:picChg>
        <pc:cxnChg chg="mod">
          <ac:chgData name="Raimund Andrée" userId="0cf943988599aae0" providerId="LiveId" clId="{922B7DBE-531B-4ABF-9316-CC5FCF3C1013}" dt="2019-09-19T04:04:46.889" v="405" actId="1076"/>
          <ac:cxnSpMkLst>
            <pc:docMk/>
            <pc:sldMk cId="3761477550" sldId="1868"/>
            <ac:cxnSpMk id="10" creationId="{88AD1A05-B5BA-4AEC-8702-9862EEEACD94}"/>
          </ac:cxnSpMkLst>
        </pc:cxnChg>
      </pc:sldChg>
      <pc:sldChg chg="ord modNotesTx">
        <pc:chgData name="Raimund Andrée" userId="0cf943988599aae0" providerId="LiveId" clId="{922B7DBE-531B-4ABF-9316-CC5FCF3C1013}" dt="2019-09-19T08:29:57.609" v="553"/>
        <pc:sldMkLst>
          <pc:docMk/>
          <pc:sldMk cId="1752452480" sldId="1869"/>
        </pc:sldMkLst>
      </pc:sldChg>
      <pc:sldChg chg="modNotesTx">
        <pc:chgData name="Raimund Andrée" userId="0cf943988599aae0" providerId="LiveId" clId="{922B7DBE-531B-4ABF-9316-CC5FCF3C1013}" dt="2019-09-19T03:13:12.689" v="264" actId="20577"/>
        <pc:sldMkLst>
          <pc:docMk/>
          <pc:sldMk cId="3250009711" sldId="1870"/>
        </pc:sldMkLst>
      </pc:sldChg>
      <pc:sldChg chg="modSp ord modAnim">
        <pc:chgData name="Raimund Andrée" userId="0cf943988599aae0" providerId="LiveId" clId="{922B7DBE-531B-4ABF-9316-CC5FCF3C1013}" dt="2019-09-19T05:30:13.737" v="473"/>
        <pc:sldMkLst>
          <pc:docMk/>
          <pc:sldMk cId="340011927" sldId="1871"/>
        </pc:sldMkLst>
        <pc:spChg chg="mod">
          <ac:chgData name="Raimund Andrée" userId="0cf943988599aae0" providerId="LiveId" clId="{922B7DBE-531B-4ABF-9316-CC5FCF3C1013}" dt="2019-09-19T03:11:52.600" v="257" actId="1076"/>
          <ac:spMkLst>
            <pc:docMk/>
            <pc:sldMk cId="340011927" sldId="1871"/>
            <ac:spMk id="9" creationId="{38BCB2BB-3A15-416B-89BF-A457A42E15E5}"/>
          </ac:spMkLst>
        </pc:spChg>
        <pc:spChg chg="mod">
          <ac:chgData name="Raimund Andrée" userId="0cf943988599aae0" providerId="LiveId" clId="{922B7DBE-531B-4ABF-9316-CC5FCF3C1013}" dt="2019-09-19T03:11:55.082" v="258" actId="14100"/>
          <ac:spMkLst>
            <pc:docMk/>
            <pc:sldMk cId="340011927" sldId="1871"/>
            <ac:spMk id="10" creationId="{691ED13B-6614-4A42-A764-B3126BC0DAE0}"/>
          </ac:spMkLst>
        </pc:spChg>
        <pc:spChg chg="mod">
          <ac:chgData name="Raimund Andrée" userId="0cf943988599aae0" providerId="LiveId" clId="{922B7DBE-531B-4ABF-9316-CC5FCF3C1013}" dt="2019-09-19T03:11:40.992" v="254" actId="14100"/>
          <ac:spMkLst>
            <pc:docMk/>
            <pc:sldMk cId="340011927" sldId="1871"/>
            <ac:spMk id="11" creationId="{08C20D42-1D57-4D94-84EF-D4DCDCF4467A}"/>
          </ac:spMkLst>
        </pc:spChg>
        <pc:spChg chg="mod">
          <ac:chgData name="Raimund Andrée" userId="0cf943988599aae0" providerId="LiveId" clId="{922B7DBE-531B-4ABF-9316-CC5FCF3C1013}" dt="2019-09-19T03:11:42.815" v="255" actId="14100"/>
          <ac:spMkLst>
            <pc:docMk/>
            <pc:sldMk cId="340011927" sldId="1871"/>
            <ac:spMk id="12" creationId="{452C6BEB-5150-40F6-9A48-ACB2F94D92BE}"/>
          </ac:spMkLst>
        </pc:spChg>
        <pc:spChg chg="mod">
          <ac:chgData name="Raimund Andrée" userId="0cf943988599aae0" providerId="LiveId" clId="{922B7DBE-531B-4ABF-9316-CC5FCF3C1013}" dt="2019-09-19T03:11:44.899" v="256" actId="14100"/>
          <ac:spMkLst>
            <pc:docMk/>
            <pc:sldMk cId="340011927" sldId="1871"/>
            <ac:spMk id="13" creationId="{A316332F-316B-44DD-84E4-BDF0B2FEFEFB}"/>
          </ac:spMkLst>
        </pc:spChg>
      </pc:sldChg>
      <pc:sldChg chg="modSp">
        <pc:chgData name="Raimund Andrée" userId="0cf943988599aae0" providerId="LiveId" clId="{922B7DBE-531B-4ABF-9316-CC5FCF3C1013}" dt="2019-09-19T03:11:12.157" v="253" actId="14100"/>
        <pc:sldMkLst>
          <pc:docMk/>
          <pc:sldMk cId="525825594" sldId="2142"/>
        </pc:sldMkLst>
        <pc:spChg chg="mod">
          <ac:chgData name="Raimund Andrée" userId="0cf943988599aae0" providerId="LiveId" clId="{922B7DBE-531B-4ABF-9316-CC5FCF3C1013}" dt="2019-09-19T03:10:36.883" v="250" actId="255"/>
          <ac:spMkLst>
            <pc:docMk/>
            <pc:sldMk cId="525825594" sldId="2142"/>
            <ac:spMk id="8" creationId="{9981FFBA-BE98-41D4-B5EB-C83C9CC2C70C}"/>
          </ac:spMkLst>
        </pc:spChg>
        <pc:spChg chg="mod">
          <ac:chgData name="Raimund Andrée" userId="0cf943988599aae0" providerId="LiveId" clId="{922B7DBE-531B-4ABF-9316-CC5FCF3C1013}" dt="2019-09-19T03:07:13.483" v="152"/>
          <ac:spMkLst>
            <pc:docMk/>
            <pc:sldMk cId="525825594" sldId="2142"/>
            <ac:spMk id="10" creationId="{B2472E78-7610-41B9-B753-944073967BBE}"/>
          </ac:spMkLst>
        </pc:spChg>
        <pc:spChg chg="mod">
          <ac:chgData name="Raimund Andrée" userId="0cf943988599aae0" providerId="LiveId" clId="{922B7DBE-531B-4ABF-9316-CC5FCF3C1013}" dt="2019-09-19T03:10:43.419" v="251" actId="14100"/>
          <ac:spMkLst>
            <pc:docMk/>
            <pc:sldMk cId="525825594" sldId="2142"/>
            <ac:spMk id="20" creationId="{CDEF76F5-47DF-46F3-A887-EDA38C2C0AF4}"/>
          </ac:spMkLst>
        </pc:spChg>
        <pc:spChg chg="mod">
          <ac:chgData name="Raimund Andrée" userId="0cf943988599aae0" providerId="LiveId" clId="{922B7DBE-531B-4ABF-9316-CC5FCF3C1013}" dt="2019-09-19T03:05:20.049" v="127" actId="20577"/>
          <ac:spMkLst>
            <pc:docMk/>
            <pc:sldMk cId="525825594" sldId="2142"/>
            <ac:spMk id="38" creationId="{47618B88-D53A-4BD5-A545-EF911FBD991C}"/>
          </ac:spMkLst>
        </pc:spChg>
        <pc:spChg chg="mod">
          <ac:chgData name="Raimund Andrée" userId="0cf943988599aae0" providerId="LiveId" clId="{922B7DBE-531B-4ABF-9316-CC5FCF3C1013}" dt="2019-09-19T03:08:16.272" v="203" actId="1036"/>
          <ac:spMkLst>
            <pc:docMk/>
            <pc:sldMk cId="525825594" sldId="2142"/>
            <ac:spMk id="43" creationId="{ACB15488-3521-44A9-8D49-F2B6FFE533BF}"/>
          </ac:spMkLst>
        </pc:spChg>
        <pc:spChg chg="mod">
          <ac:chgData name="Raimund Andrée" userId="0cf943988599aae0" providerId="LiveId" clId="{922B7DBE-531B-4ABF-9316-CC5FCF3C1013}" dt="2019-09-19T03:07:21.506" v="153" actId="208"/>
          <ac:spMkLst>
            <pc:docMk/>
            <pc:sldMk cId="525825594" sldId="2142"/>
            <ac:spMk id="46" creationId="{CC272A32-4952-4BA5-BD61-1EEDDD071A87}"/>
          </ac:spMkLst>
        </pc:spChg>
        <pc:spChg chg="mod">
          <ac:chgData name="Raimund Andrée" userId="0cf943988599aae0" providerId="LiveId" clId="{922B7DBE-531B-4ABF-9316-CC5FCF3C1013}" dt="2019-09-19T03:04:25.791" v="72" actId="208"/>
          <ac:spMkLst>
            <pc:docMk/>
            <pc:sldMk cId="525825594" sldId="2142"/>
            <ac:spMk id="48" creationId="{9D8160EA-C363-42BF-B1F0-08787BF731DE}"/>
          </ac:spMkLst>
        </pc:spChg>
        <pc:grpChg chg="mod">
          <ac:chgData name="Raimund Andrée" userId="0cf943988599aae0" providerId="LiveId" clId="{922B7DBE-531B-4ABF-9316-CC5FCF3C1013}" dt="2019-09-19T03:08:39.933" v="209"/>
          <ac:grpSpMkLst>
            <pc:docMk/>
            <pc:sldMk cId="525825594" sldId="2142"/>
            <ac:grpSpMk id="4" creationId="{37A156B4-A42E-4B19-BA01-1DB28ECB0F98}"/>
          </ac:grpSpMkLst>
        </pc:grpChg>
        <pc:grpChg chg="mod">
          <ac:chgData name="Raimund Andrée" userId="0cf943988599aae0" providerId="LiveId" clId="{922B7DBE-531B-4ABF-9316-CC5FCF3C1013}" dt="2019-09-19T03:08:39.933" v="209"/>
          <ac:grpSpMkLst>
            <pc:docMk/>
            <pc:sldMk cId="525825594" sldId="2142"/>
            <ac:grpSpMk id="5" creationId="{9AA16264-A57D-479D-998E-D157710047A6}"/>
          </ac:grpSpMkLst>
        </pc:grpChg>
        <pc:grpChg chg="mod">
          <ac:chgData name="Raimund Andrée" userId="0cf943988599aae0" providerId="LiveId" clId="{922B7DBE-531B-4ABF-9316-CC5FCF3C1013}" dt="2019-09-19T03:07:00.662" v="150" actId="14100"/>
          <ac:grpSpMkLst>
            <pc:docMk/>
            <pc:sldMk cId="525825594" sldId="2142"/>
            <ac:grpSpMk id="21" creationId="{448CD760-7401-4F48-9AAF-B92C98C76B3B}"/>
          </ac:grpSpMkLst>
        </pc:grpChg>
        <pc:grpChg chg="mod">
          <ac:chgData name="Raimund Andrée" userId="0cf943988599aae0" providerId="LiveId" clId="{922B7DBE-531B-4ABF-9316-CC5FCF3C1013}" dt="2019-09-19T03:03:36.314" v="70" actId="207"/>
          <ac:grpSpMkLst>
            <pc:docMk/>
            <pc:sldMk cId="525825594" sldId="2142"/>
            <ac:grpSpMk id="44" creationId="{3FA4198F-856D-4A8D-9578-3FD2C785EB41}"/>
          </ac:grpSpMkLst>
        </pc:grpChg>
        <pc:cxnChg chg="mod">
          <ac:chgData name="Raimund Andrée" userId="0cf943988599aae0" providerId="LiveId" clId="{922B7DBE-531B-4ABF-9316-CC5FCF3C1013}" dt="2019-09-19T03:07:00.662" v="150" actId="14100"/>
          <ac:cxnSpMkLst>
            <pc:docMk/>
            <pc:sldMk cId="525825594" sldId="2142"/>
            <ac:cxnSpMk id="31" creationId="{3DE67EE8-511D-499D-8707-9BBF496A4339}"/>
          </ac:cxnSpMkLst>
        </pc:cxnChg>
        <pc:cxnChg chg="mod">
          <ac:chgData name="Raimund Andrée" userId="0cf943988599aae0" providerId="LiveId" clId="{922B7DBE-531B-4ABF-9316-CC5FCF3C1013}" dt="2019-09-19T03:04:25.791" v="72" actId="208"/>
          <ac:cxnSpMkLst>
            <pc:docMk/>
            <pc:sldMk cId="525825594" sldId="2142"/>
            <ac:cxnSpMk id="33" creationId="{414B64B0-6B15-4F91-B5AE-88998FCF51A2}"/>
          </ac:cxnSpMkLst>
        </pc:cxnChg>
        <pc:cxnChg chg="mod">
          <ac:chgData name="Raimund Andrée" userId="0cf943988599aae0" providerId="LiveId" clId="{922B7DBE-531B-4ABF-9316-CC5FCF3C1013}" dt="2019-09-19T03:11:12.157" v="253" actId="14100"/>
          <ac:cxnSpMkLst>
            <pc:docMk/>
            <pc:sldMk cId="525825594" sldId="2142"/>
            <ac:cxnSpMk id="42" creationId="{59C25F48-BE46-494E-96BE-99BCB83BD72A}"/>
          </ac:cxnSpMkLst>
        </pc:cxnChg>
        <pc:cxnChg chg="mod">
          <ac:chgData name="Raimund Andrée" userId="0cf943988599aae0" providerId="LiveId" clId="{922B7DBE-531B-4ABF-9316-CC5FCF3C1013}" dt="2019-09-19T03:04:25.791" v="72" actId="208"/>
          <ac:cxnSpMkLst>
            <pc:docMk/>
            <pc:sldMk cId="525825594" sldId="2142"/>
            <ac:cxnSpMk id="47" creationId="{909E2B96-2B01-4A2F-9F84-1B821F018CBA}"/>
          </ac:cxnSpMkLst>
        </pc:cxnChg>
      </pc:sldChg>
      <pc:sldChg chg="addSp modSp">
        <pc:chgData name="Raimund Andrée" userId="0cf943988599aae0" providerId="LiveId" clId="{922B7DBE-531B-4ABF-9316-CC5FCF3C1013}" dt="2019-09-19T04:06:41.638" v="470" actId="14100"/>
        <pc:sldMkLst>
          <pc:docMk/>
          <pc:sldMk cId="4083750556" sldId="2143"/>
        </pc:sldMkLst>
        <pc:spChg chg="add mod">
          <ac:chgData name="Raimund Andrée" userId="0cf943988599aae0" providerId="LiveId" clId="{922B7DBE-531B-4ABF-9316-CC5FCF3C1013}" dt="2019-09-19T04:05:17.259" v="425" actId="20577"/>
          <ac:spMkLst>
            <pc:docMk/>
            <pc:sldMk cId="4083750556" sldId="2143"/>
            <ac:spMk id="12" creationId="{A32847F2-4FD5-4435-89F3-99C373AA660D}"/>
          </ac:spMkLst>
        </pc:spChg>
        <pc:spChg chg="mod">
          <ac:chgData name="Raimund Andrée" userId="0cf943988599aae0" providerId="LiveId" clId="{922B7DBE-531B-4ABF-9316-CC5FCF3C1013}" dt="2019-09-19T04:06:37.935" v="469" actId="1035"/>
          <ac:spMkLst>
            <pc:docMk/>
            <pc:sldMk cId="4083750556" sldId="2143"/>
            <ac:spMk id="13" creationId="{91A93D60-5395-4DF7-9931-F60A9886BE5F}"/>
          </ac:spMkLst>
        </pc:spChg>
        <pc:picChg chg="mod">
          <ac:chgData name="Raimund Andrée" userId="0cf943988599aae0" providerId="LiveId" clId="{922B7DBE-531B-4ABF-9316-CC5FCF3C1013}" dt="2019-09-19T04:06:00.717" v="447" actId="1036"/>
          <ac:picMkLst>
            <pc:docMk/>
            <pc:sldMk cId="4083750556" sldId="2143"/>
            <ac:picMk id="4" creationId="{6EE98D45-2D5F-49D3-985F-CAF2AF4D2C95}"/>
          </ac:picMkLst>
        </pc:picChg>
        <pc:picChg chg="mod">
          <ac:chgData name="Raimund Andrée" userId="0cf943988599aae0" providerId="LiveId" clId="{922B7DBE-531B-4ABF-9316-CC5FCF3C1013}" dt="2019-09-19T04:06:37.935" v="469" actId="1035"/>
          <ac:picMkLst>
            <pc:docMk/>
            <pc:sldMk cId="4083750556" sldId="2143"/>
            <ac:picMk id="5" creationId="{A7F4F59D-BC94-4397-94D3-B07D3B470D6D}"/>
          </ac:picMkLst>
        </pc:picChg>
        <pc:picChg chg="mod">
          <ac:chgData name="Raimund Andrée" userId="0cf943988599aae0" providerId="LiveId" clId="{922B7DBE-531B-4ABF-9316-CC5FCF3C1013}" dt="2019-09-19T04:06:37.935" v="469" actId="1035"/>
          <ac:picMkLst>
            <pc:docMk/>
            <pc:sldMk cId="4083750556" sldId="2143"/>
            <ac:picMk id="7" creationId="{78A83855-AC0F-4E69-9C36-705EAF3853AC}"/>
          </ac:picMkLst>
        </pc:picChg>
        <pc:picChg chg="mod">
          <ac:chgData name="Raimund Andrée" userId="0cf943988599aae0" providerId="LiveId" clId="{922B7DBE-531B-4ABF-9316-CC5FCF3C1013}" dt="2019-09-19T04:06:37.935" v="469" actId="1035"/>
          <ac:picMkLst>
            <pc:docMk/>
            <pc:sldMk cId="4083750556" sldId="2143"/>
            <ac:picMk id="10" creationId="{CEBA73FA-8596-456B-9F63-018939AECA99}"/>
          </ac:picMkLst>
        </pc:picChg>
        <pc:cxnChg chg="mod">
          <ac:chgData name="Raimund Andrée" userId="0cf943988599aae0" providerId="LiveId" clId="{922B7DBE-531B-4ABF-9316-CC5FCF3C1013}" dt="2019-09-19T04:06:41.638" v="470" actId="14100"/>
          <ac:cxnSpMkLst>
            <pc:docMk/>
            <pc:sldMk cId="4083750556" sldId="2143"/>
            <ac:cxnSpMk id="6" creationId="{30D00560-F7A9-4B7B-B1B4-4E666331025B}"/>
          </ac:cxnSpMkLst>
        </pc:cxnChg>
        <pc:cxnChg chg="mod">
          <ac:chgData name="Raimund Andrée" userId="0cf943988599aae0" providerId="LiveId" clId="{922B7DBE-531B-4ABF-9316-CC5FCF3C1013}" dt="2019-09-19T04:06:37.935" v="469" actId="1035"/>
          <ac:cxnSpMkLst>
            <pc:docMk/>
            <pc:sldMk cId="4083750556" sldId="2143"/>
            <ac:cxnSpMk id="8" creationId="{D5B42768-BC46-44F0-B600-762BFCC469EF}"/>
          </ac:cxnSpMkLst>
        </pc:cxnChg>
        <pc:cxnChg chg="mod">
          <ac:chgData name="Raimund Andrée" userId="0cf943988599aae0" providerId="LiveId" clId="{922B7DBE-531B-4ABF-9316-CC5FCF3C1013}" dt="2019-09-19T04:06:37.935" v="469" actId="1035"/>
          <ac:cxnSpMkLst>
            <pc:docMk/>
            <pc:sldMk cId="4083750556" sldId="2143"/>
            <ac:cxnSpMk id="9" creationId="{EF070A5B-4481-4CAD-B934-163B1C243C13}"/>
          </ac:cxnSpMkLst>
        </pc:cxnChg>
        <pc:cxnChg chg="mod">
          <ac:chgData name="Raimund Andrée" userId="0cf943988599aae0" providerId="LiveId" clId="{922B7DBE-531B-4ABF-9316-CC5FCF3C1013}" dt="2019-09-19T04:06:37.935" v="469" actId="1035"/>
          <ac:cxnSpMkLst>
            <pc:docMk/>
            <pc:sldMk cId="4083750556" sldId="2143"/>
            <ac:cxnSpMk id="11" creationId="{EEEA54AC-06D6-4A04-8A8D-51C090469417}"/>
          </ac:cxnSpMkLst>
        </pc:cxnChg>
      </pc:sldChg>
      <pc:sldChg chg="add del">
        <pc:chgData name="Raimund Andrée" userId="0cf943988599aae0" providerId="LiveId" clId="{922B7DBE-531B-4ABF-9316-CC5FCF3C1013}" dt="2019-09-19T03:26:53.986" v="286"/>
        <pc:sldMkLst>
          <pc:docMk/>
          <pc:sldMk cId="764410273" sldId="2145"/>
        </pc:sldMkLst>
      </pc:sldChg>
      <pc:sldChg chg="modSp add">
        <pc:chgData name="Raimund Andrée" userId="0cf943988599aae0" providerId="LiveId" clId="{922B7DBE-531B-4ABF-9316-CC5FCF3C1013}" dt="2019-09-19T04:08:44.303" v="472" actId="20577"/>
        <pc:sldMkLst>
          <pc:docMk/>
          <pc:sldMk cId="1962425318" sldId="2145"/>
        </pc:sldMkLst>
        <pc:spChg chg="mod">
          <ac:chgData name="Raimund Andrée" userId="0cf943988599aae0" providerId="LiveId" clId="{922B7DBE-531B-4ABF-9316-CC5FCF3C1013}" dt="2019-09-19T04:08:44.303" v="472" actId="20577"/>
          <ac:spMkLst>
            <pc:docMk/>
            <pc:sldMk cId="1962425318" sldId="2145"/>
            <ac:spMk id="4" creationId="{00000000-0000-0000-0000-000000000000}"/>
          </ac:spMkLst>
        </pc:spChg>
      </pc:sldChg>
    </pc:docChg>
  </pc:docChgLst>
  <pc:docChgLst>
    <pc:chgData name="Raimund Andrée" userId="0cf943988599aae0" providerId="LiveId" clId="{A6DB23F9-92A4-450B-9C6E-06CBD5498E63}"/>
    <pc:docChg chg="undo redo custSel modSld addMainMaster delMainMaster modMainMaster">
      <pc:chgData name="Raimund Andrée" userId="0cf943988599aae0" providerId="LiveId" clId="{A6DB23F9-92A4-450B-9C6E-06CBD5498E63}" dt="2022-06-23T06:37:13.601" v="34" actId="478"/>
      <pc:docMkLst>
        <pc:docMk/>
      </pc:docMkLst>
      <pc:sldChg chg="addSp delSp modSp mod modClrScheme chgLayout">
        <pc:chgData name="Raimund Andrée" userId="0cf943988599aae0" providerId="LiveId" clId="{A6DB23F9-92A4-450B-9C6E-06CBD5498E63}" dt="2022-06-23T06:36:36.420" v="32"/>
        <pc:sldMkLst>
          <pc:docMk/>
          <pc:sldMk cId="2970004164" sldId="259"/>
        </pc:sldMkLst>
        <pc:spChg chg="mod">
          <ac:chgData name="Raimund Andrée" userId="0cf943988599aae0" providerId="LiveId" clId="{A6DB23F9-92A4-450B-9C6E-06CBD5498E63}" dt="2022-06-23T06:36:36.420" v="32"/>
          <ac:spMkLst>
            <pc:docMk/>
            <pc:sldMk cId="2970004164" sldId="259"/>
            <ac:spMk id="2" creationId="{AF2C3F19-9F6F-1450-84BC-A80357F35940}"/>
          </ac:spMkLst>
        </pc:spChg>
        <pc:spChg chg="add del mod ord">
          <ac:chgData name="Raimund Andrée" userId="0cf943988599aae0" providerId="LiveId" clId="{A6DB23F9-92A4-450B-9C6E-06CBD5498E63}" dt="2022-06-22T07:56:01.913" v="18" actId="478"/>
          <ac:spMkLst>
            <pc:docMk/>
            <pc:sldMk cId="2970004164" sldId="259"/>
            <ac:spMk id="4" creationId="{4BF1A6DF-644D-21BD-9BF7-755DCC6050F7}"/>
          </ac:spMkLst>
        </pc:spChg>
      </pc:sldChg>
      <pc:sldChg chg="addSp delSp modSp mod modClrScheme chgLayout">
        <pc:chgData name="Raimund Andrée" userId="0cf943988599aae0" providerId="LiveId" clId="{A6DB23F9-92A4-450B-9C6E-06CBD5498E63}" dt="2022-06-22T07:56:11.415" v="20" actId="478"/>
        <pc:sldMkLst>
          <pc:docMk/>
          <pc:sldMk cId="3984835757" sldId="261"/>
        </pc:sldMkLst>
        <pc:spChg chg="add del mod ord">
          <ac:chgData name="Raimund Andrée" userId="0cf943988599aae0" providerId="LiveId" clId="{A6DB23F9-92A4-450B-9C6E-06CBD5498E63}" dt="2022-06-22T07:56:11.415" v="20" actId="478"/>
          <ac:spMkLst>
            <pc:docMk/>
            <pc:sldMk cId="3984835757" sldId="261"/>
            <ac:spMk id="2" creationId="{93BAEB39-AEF5-76AE-AA9D-7CB355F07E60}"/>
          </ac:spMkLst>
        </pc:spChg>
      </pc:sldChg>
      <pc:sldChg chg="addSp delSp modSp mod modClrScheme chgLayout">
        <pc:chgData name="Raimund Andrée" userId="0cf943988599aae0" providerId="LiveId" clId="{A6DB23F9-92A4-450B-9C6E-06CBD5498E63}" dt="2022-06-23T06:37:13.601" v="34" actId="478"/>
        <pc:sldMkLst>
          <pc:docMk/>
          <pc:sldMk cId="751095604" sldId="267"/>
        </pc:sldMkLst>
        <pc:spChg chg="add del mod ord">
          <ac:chgData name="Raimund Andrée" userId="0cf943988599aae0" providerId="LiveId" clId="{A6DB23F9-92A4-450B-9C6E-06CBD5498E63}" dt="2022-06-22T07:56:27.864" v="22" actId="478"/>
          <ac:spMkLst>
            <pc:docMk/>
            <pc:sldMk cId="751095604" sldId="267"/>
            <ac:spMk id="2" creationId="{4CDC1C2A-545D-6AB0-E44D-F48D30EAEA20}"/>
          </ac:spMkLst>
        </pc:spChg>
        <pc:spChg chg="add del mod ord">
          <ac:chgData name="Raimund Andrée" userId="0cf943988599aae0" providerId="LiveId" clId="{A6DB23F9-92A4-450B-9C6E-06CBD5498E63}" dt="2022-06-23T06:37:13.601" v="34" actId="478"/>
          <ac:spMkLst>
            <pc:docMk/>
            <pc:sldMk cId="751095604" sldId="267"/>
            <ac:spMk id="2" creationId="{AE187A08-0627-0262-AE93-5AA273003106}"/>
          </ac:spMkLst>
        </pc:spChg>
        <pc:spChg chg="add del mod ord">
          <ac:chgData name="Raimund Andrée" userId="0cf943988599aae0" providerId="LiveId" clId="{A6DB23F9-92A4-450B-9C6E-06CBD5498E63}" dt="2022-06-22T07:57:11.222" v="25" actId="478"/>
          <ac:spMkLst>
            <pc:docMk/>
            <pc:sldMk cId="751095604" sldId="267"/>
            <ac:spMk id="3" creationId="{038A0F43-B9B4-4576-AF09-CE9658651804}"/>
          </ac:spMkLst>
        </pc:spChg>
      </pc:sldChg>
      <pc:sldMasterChg chg="addSldLayout delSldLayout modSldLayout">
        <pc:chgData name="Raimund Andrée" userId="0cf943988599aae0" providerId="LiveId" clId="{A6DB23F9-92A4-450B-9C6E-06CBD5498E63}" dt="2022-06-22T07:56:58.451" v="23" actId="478"/>
        <pc:sldMasterMkLst>
          <pc:docMk/>
          <pc:sldMasterMk cId="3588427678" sldId="2147484229"/>
        </pc:sldMasterMkLst>
        <pc:sldLayoutChg chg="addSp delSp modSp">
          <pc:chgData name="Raimund Andrée" userId="0cf943988599aae0" providerId="LiveId" clId="{A6DB23F9-92A4-450B-9C6E-06CBD5498E63}" dt="2022-06-22T07:55:00.931" v="9"/>
          <pc:sldLayoutMkLst>
            <pc:docMk/>
            <pc:sldMasterMk cId="3588427678" sldId="2147484229"/>
            <pc:sldLayoutMk cId="2160276698" sldId="2147484648"/>
          </pc:sldLayoutMkLst>
          <pc:picChg chg="add del mod">
            <ac:chgData name="Raimund Andrée" userId="0cf943988599aae0" providerId="LiveId" clId="{A6DB23F9-92A4-450B-9C6E-06CBD5498E63}" dt="2022-06-22T07:55:00.931" v="9"/>
            <ac:picMkLst>
              <pc:docMk/>
              <pc:sldMasterMk cId="3588427678" sldId="2147484229"/>
              <pc:sldLayoutMk cId="2160276698" sldId="2147484648"/>
              <ac:picMk id="6" creationId="{7BFBE63A-CAA8-D3CB-BCDB-F0AC675C8DD8}"/>
            </ac:picMkLst>
          </pc:picChg>
          <pc:picChg chg="add del mod">
            <ac:chgData name="Raimund Andrée" userId="0cf943988599aae0" providerId="LiveId" clId="{A6DB23F9-92A4-450B-9C6E-06CBD5498E63}" dt="2022-06-22T07:55:00.569" v="8"/>
            <ac:picMkLst>
              <pc:docMk/>
              <pc:sldMasterMk cId="3588427678" sldId="2147484229"/>
              <pc:sldLayoutMk cId="2160276698" sldId="2147484648"/>
              <ac:picMk id="9" creationId="{5A66DF33-C9FD-25D3-D475-A3DD48F52DC0}"/>
            </ac:picMkLst>
          </pc:picChg>
        </pc:sldLayoutChg>
        <pc:sldLayoutChg chg="del modTransition">
          <pc:chgData name="Raimund Andrée" userId="0cf943988599aae0" providerId="LiveId" clId="{A6DB23F9-92A4-450B-9C6E-06CBD5498E63}" dt="2022-06-22T07:54:17.725" v="2" actId="2696"/>
          <pc:sldLayoutMkLst>
            <pc:docMk/>
            <pc:sldMasterMk cId="3588427678" sldId="2147484229"/>
            <pc:sldLayoutMk cId="401891978" sldId="2147484660"/>
          </pc:sldLayoutMkLst>
        </pc:sldLayoutChg>
        <pc:sldLayoutChg chg="addSp modSp new mod">
          <pc:chgData name="Raimund Andrée" userId="0cf943988599aae0" providerId="LiveId" clId="{A6DB23F9-92A4-450B-9C6E-06CBD5498E63}" dt="2022-06-22T07:55:18.235" v="16"/>
          <pc:sldLayoutMkLst>
            <pc:docMk/>
            <pc:sldMasterMk cId="3588427678" sldId="2147484229"/>
            <pc:sldLayoutMk cId="1374424007" sldId="2147484660"/>
          </pc:sldLayoutMkLst>
          <pc:picChg chg="add mod">
            <ac:chgData name="Raimund Andrée" userId="0cf943988599aae0" providerId="LiveId" clId="{A6DB23F9-92A4-450B-9C6E-06CBD5498E63}" dt="2022-06-22T07:55:12.304" v="15"/>
            <ac:picMkLst>
              <pc:docMk/>
              <pc:sldMasterMk cId="3588427678" sldId="2147484229"/>
              <pc:sldLayoutMk cId="1374424007" sldId="2147484660"/>
              <ac:picMk id="3" creationId="{6732FB98-100C-5C41-0DB5-AB3AA37654EF}"/>
            </ac:picMkLst>
          </pc:picChg>
          <pc:picChg chg="add mod">
            <ac:chgData name="Raimund Andrée" userId="0cf943988599aae0" providerId="LiveId" clId="{A6DB23F9-92A4-450B-9C6E-06CBD5498E63}" dt="2022-06-22T07:55:18.235" v="16"/>
            <ac:picMkLst>
              <pc:docMk/>
              <pc:sldMasterMk cId="3588427678" sldId="2147484229"/>
              <pc:sldLayoutMk cId="1374424007" sldId="2147484660"/>
              <ac:picMk id="4" creationId="{F9B01C2D-59AC-0847-2457-337C0B14111F}"/>
            </ac:picMkLst>
          </pc:picChg>
          <pc:picChg chg="add mod">
            <ac:chgData name="Raimund Andrée" userId="0cf943988599aae0" providerId="LiveId" clId="{A6DB23F9-92A4-450B-9C6E-06CBD5498E63}" dt="2022-06-22T07:55:18.235" v="16"/>
            <ac:picMkLst>
              <pc:docMk/>
              <pc:sldMasterMk cId="3588427678" sldId="2147484229"/>
              <pc:sldLayoutMk cId="1374424007" sldId="2147484660"/>
              <ac:picMk id="5" creationId="{18DF9F88-3A6D-45D0-998B-3B876C1A4E61}"/>
            </ac:picMkLst>
          </pc:picChg>
          <pc:picChg chg="add mod">
            <ac:chgData name="Raimund Andrée" userId="0cf943988599aae0" providerId="LiveId" clId="{A6DB23F9-92A4-450B-9C6E-06CBD5498E63}" dt="2022-06-22T07:55:18.235" v="16"/>
            <ac:picMkLst>
              <pc:docMk/>
              <pc:sldMasterMk cId="3588427678" sldId="2147484229"/>
              <pc:sldLayoutMk cId="1374424007" sldId="2147484660"/>
              <ac:picMk id="6" creationId="{A0905F72-0FDF-1732-B6FE-42E9DB9AD743}"/>
            </ac:picMkLst>
          </pc:picChg>
        </pc:sldLayoutChg>
        <pc:sldLayoutChg chg="add del mod">
          <pc:chgData name="Raimund Andrée" userId="0cf943988599aae0" providerId="LiveId" clId="{A6DB23F9-92A4-450B-9C6E-06CBD5498E63}" dt="2022-06-22T07:54:31.085" v="5" actId="2696"/>
          <pc:sldLayoutMkLst>
            <pc:docMk/>
            <pc:sldMasterMk cId="3588427678" sldId="2147484229"/>
            <pc:sldLayoutMk cId="1970905932" sldId="2147484660"/>
          </pc:sldLayoutMkLst>
        </pc:sldLayoutChg>
        <pc:sldLayoutChg chg="del modTransition">
          <pc:chgData name="Raimund Andrée" userId="0cf943988599aae0" providerId="LiveId" clId="{A6DB23F9-92A4-450B-9C6E-06CBD5498E63}" dt="2022-06-22T07:54:18.493" v="3" actId="2696"/>
          <pc:sldLayoutMkLst>
            <pc:docMk/>
            <pc:sldMasterMk cId="3588427678" sldId="2147484229"/>
            <pc:sldLayoutMk cId="3498732109" sldId="2147484661"/>
          </pc:sldLayoutMkLst>
        </pc:sldLayoutChg>
        <pc:sldLayoutChg chg="delSp mod">
          <pc:chgData name="Raimund Andrée" userId="0cf943988599aae0" providerId="LiveId" clId="{A6DB23F9-92A4-450B-9C6E-06CBD5498E63}" dt="2022-06-22T07:56:58.451" v="23" actId="478"/>
          <pc:sldLayoutMkLst>
            <pc:docMk/>
            <pc:sldMasterMk cId="3588427678" sldId="2147484229"/>
            <pc:sldLayoutMk cId="3957277969" sldId="2147484661"/>
          </pc:sldLayoutMkLst>
          <pc:picChg chg="del">
            <ac:chgData name="Raimund Andrée" userId="0cf943988599aae0" providerId="LiveId" clId="{A6DB23F9-92A4-450B-9C6E-06CBD5498E63}" dt="2022-06-22T07:56:58.451" v="23" actId="478"/>
            <ac:picMkLst>
              <pc:docMk/>
              <pc:sldMasterMk cId="3588427678" sldId="2147484229"/>
              <pc:sldLayoutMk cId="3957277969" sldId="2147484661"/>
              <ac:picMk id="5" creationId="{18DF9F88-3A6D-45D0-998B-3B876C1A4E61}"/>
            </ac:picMkLst>
          </pc:picChg>
        </pc:sldLayoutChg>
      </pc:sldMasterChg>
      <pc:sldMasterChg chg="new del mod addSldLayout delSldLayout">
        <pc:chgData name="Raimund Andrée" userId="0cf943988599aae0" providerId="LiveId" clId="{A6DB23F9-92A4-450B-9C6E-06CBD5498E63}" dt="2022-06-22T07:55:07.113" v="13" actId="6938"/>
        <pc:sldMasterMkLst>
          <pc:docMk/>
          <pc:sldMasterMk cId="3960252612" sldId="2147484660"/>
        </pc:sldMasterMkLst>
        <pc:sldLayoutChg chg="new del replId">
          <pc:chgData name="Raimund Andrée" userId="0cf943988599aae0" providerId="LiveId" clId="{A6DB23F9-92A4-450B-9C6E-06CBD5498E63}" dt="2022-06-22T07:55:07.113" v="13" actId="6938"/>
          <pc:sldLayoutMkLst>
            <pc:docMk/>
            <pc:sldMasterMk cId="3960252612" sldId="2147484660"/>
            <pc:sldLayoutMk cId="1426360106" sldId="2147484661"/>
          </pc:sldLayoutMkLst>
        </pc:sldLayoutChg>
        <pc:sldLayoutChg chg="new del replId">
          <pc:chgData name="Raimund Andrée" userId="0cf943988599aae0" providerId="LiveId" clId="{A6DB23F9-92A4-450B-9C6E-06CBD5498E63}" dt="2022-06-22T07:55:07.113" v="13" actId="6938"/>
          <pc:sldLayoutMkLst>
            <pc:docMk/>
            <pc:sldMasterMk cId="3960252612" sldId="2147484660"/>
            <pc:sldLayoutMk cId="1250372685" sldId="2147484662"/>
          </pc:sldLayoutMkLst>
        </pc:sldLayoutChg>
        <pc:sldLayoutChg chg="new del replId">
          <pc:chgData name="Raimund Andrée" userId="0cf943988599aae0" providerId="LiveId" clId="{A6DB23F9-92A4-450B-9C6E-06CBD5498E63}" dt="2022-06-22T07:55:07.113" v="13" actId="6938"/>
          <pc:sldLayoutMkLst>
            <pc:docMk/>
            <pc:sldMasterMk cId="3960252612" sldId="2147484660"/>
            <pc:sldLayoutMk cId="4217772110" sldId="2147484663"/>
          </pc:sldLayoutMkLst>
        </pc:sldLayoutChg>
        <pc:sldLayoutChg chg="new del replId">
          <pc:chgData name="Raimund Andrée" userId="0cf943988599aae0" providerId="LiveId" clId="{A6DB23F9-92A4-450B-9C6E-06CBD5498E63}" dt="2022-06-22T07:55:07.113" v="13" actId="6938"/>
          <pc:sldLayoutMkLst>
            <pc:docMk/>
            <pc:sldMasterMk cId="3960252612" sldId="2147484660"/>
            <pc:sldLayoutMk cId="1852710934" sldId="2147484664"/>
          </pc:sldLayoutMkLst>
        </pc:sldLayoutChg>
        <pc:sldLayoutChg chg="new del replId">
          <pc:chgData name="Raimund Andrée" userId="0cf943988599aae0" providerId="LiveId" clId="{A6DB23F9-92A4-450B-9C6E-06CBD5498E63}" dt="2022-06-22T07:55:07.113" v="13" actId="6938"/>
          <pc:sldLayoutMkLst>
            <pc:docMk/>
            <pc:sldMasterMk cId="3960252612" sldId="2147484660"/>
            <pc:sldLayoutMk cId="2130925719" sldId="2147484665"/>
          </pc:sldLayoutMkLst>
        </pc:sldLayoutChg>
        <pc:sldLayoutChg chg="new del replId">
          <pc:chgData name="Raimund Andrée" userId="0cf943988599aae0" providerId="LiveId" clId="{A6DB23F9-92A4-450B-9C6E-06CBD5498E63}" dt="2022-06-22T07:55:07.113" v="13" actId="6938"/>
          <pc:sldLayoutMkLst>
            <pc:docMk/>
            <pc:sldMasterMk cId="3960252612" sldId="2147484660"/>
            <pc:sldLayoutMk cId="2423779292" sldId="2147484666"/>
          </pc:sldLayoutMkLst>
        </pc:sldLayoutChg>
        <pc:sldLayoutChg chg="new del replId">
          <pc:chgData name="Raimund Andrée" userId="0cf943988599aae0" providerId="LiveId" clId="{A6DB23F9-92A4-450B-9C6E-06CBD5498E63}" dt="2022-06-22T07:55:07.113" v="13" actId="6938"/>
          <pc:sldLayoutMkLst>
            <pc:docMk/>
            <pc:sldMasterMk cId="3960252612" sldId="2147484660"/>
            <pc:sldLayoutMk cId="1741279742" sldId="2147484667"/>
          </pc:sldLayoutMkLst>
        </pc:sldLayoutChg>
        <pc:sldLayoutChg chg="new del replId">
          <pc:chgData name="Raimund Andrée" userId="0cf943988599aae0" providerId="LiveId" clId="{A6DB23F9-92A4-450B-9C6E-06CBD5498E63}" dt="2022-06-22T07:55:07.113" v="13" actId="6938"/>
          <pc:sldLayoutMkLst>
            <pc:docMk/>
            <pc:sldMasterMk cId="3960252612" sldId="2147484660"/>
            <pc:sldLayoutMk cId="348621915" sldId="2147484668"/>
          </pc:sldLayoutMkLst>
        </pc:sldLayoutChg>
        <pc:sldLayoutChg chg="new del replId">
          <pc:chgData name="Raimund Andrée" userId="0cf943988599aae0" providerId="LiveId" clId="{A6DB23F9-92A4-450B-9C6E-06CBD5498E63}" dt="2022-06-22T07:55:07.113" v="13" actId="6938"/>
          <pc:sldLayoutMkLst>
            <pc:docMk/>
            <pc:sldMasterMk cId="3960252612" sldId="2147484660"/>
            <pc:sldLayoutMk cId="1008925255" sldId="2147484669"/>
          </pc:sldLayoutMkLst>
        </pc:sldLayoutChg>
        <pc:sldLayoutChg chg="new del replId">
          <pc:chgData name="Raimund Andrée" userId="0cf943988599aae0" providerId="LiveId" clId="{A6DB23F9-92A4-450B-9C6E-06CBD5498E63}" dt="2022-06-22T07:55:07.113" v="13" actId="6938"/>
          <pc:sldLayoutMkLst>
            <pc:docMk/>
            <pc:sldMasterMk cId="3960252612" sldId="2147484660"/>
            <pc:sldLayoutMk cId="1839495515" sldId="2147484670"/>
          </pc:sldLayoutMkLst>
        </pc:sldLayoutChg>
        <pc:sldLayoutChg chg="new del replId">
          <pc:chgData name="Raimund Andrée" userId="0cf943988599aae0" providerId="LiveId" clId="{A6DB23F9-92A4-450B-9C6E-06CBD5498E63}" dt="2022-06-22T07:55:07.113" v="13" actId="6938"/>
          <pc:sldLayoutMkLst>
            <pc:docMk/>
            <pc:sldMasterMk cId="3960252612" sldId="2147484660"/>
            <pc:sldLayoutMk cId="4180529126" sldId="2147484671"/>
          </pc:sldLayoutMkLst>
        </pc:sldLayoutChg>
      </pc:sldMasterChg>
      <pc:sldMasterChg chg="new del mod addSldLayout delSldLayout">
        <pc:chgData name="Raimund Andrée" userId="0cf943988599aae0" providerId="LiveId" clId="{A6DB23F9-92A4-450B-9C6E-06CBD5498E63}" dt="2022-06-22T07:55:06.847" v="12" actId="6938"/>
        <pc:sldMasterMkLst>
          <pc:docMk/>
          <pc:sldMasterMk cId="335526584" sldId="2147484672"/>
        </pc:sldMasterMkLst>
        <pc:sldLayoutChg chg="new del replId">
          <pc:chgData name="Raimund Andrée" userId="0cf943988599aae0" providerId="LiveId" clId="{A6DB23F9-92A4-450B-9C6E-06CBD5498E63}" dt="2022-06-22T07:55:06.847" v="12" actId="6938"/>
          <pc:sldLayoutMkLst>
            <pc:docMk/>
            <pc:sldMasterMk cId="335526584" sldId="2147484672"/>
            <pc:sldLayoutMk cId="1506681831" sldId="2147484673"/>
          </pc:sldLayoutMkLst>
        </pc:sldLayoutChg>
        <pc:sldLayoutChg chg="new del replId">
          <pc:chgData name="Raimund Andrée" userId="0cf943988599aae0" providerId="LiveId" clId="{A6DB23F9-92A4-450B-9C6E-06CBD5498E63}" dt="2022-06-22T07:55:06.847" v="12" actId="6938"/>
          <pc:sldLayoutMkLst>
            <pc:docMk/>
            <pc:sldMasterMk cId="335526584" sldId="2147484672"/>
            <pc:sldLayoutMk cId="1969200950" sldId="2147484674"/>
          </pc:sldLayoutMkLst>
        </pc:sldLayoutChg>
        <pc:sldLayoutChg chg="new del replId">
          <pc:chgData name="Raimund Andrée" userId="0cf943988599aae0" providerId="LiveId" clId="{A6DB23F9-92A4-450B-9C6E-06CBD5498E63}" dt="2022-06-22T07:55:06.847" v="12" actId="6938"/>
          <pc:sldLayoutMkLst>
            <pc:docMk/>
            <pc:sldMasterMk cId="335526584" sldId="2147484672"/>
            <pc:sldLayoutMk cId="2505076570" sldId="2147484675"/>
          </pc:sldLayoutMkLst>
        </pc:sldLayoutChg>
        <pc:sldLayoutChg chg="new del replId">
          <pc:chgData name="Raimund Andrée" userId="0cf943988599aae0" providerId="LiveId" clId="{A6DB23F9-92A4-450B-9C6E-06CBD5498E63}" dt="2022-06-22T07:55:06.847" v="12" actId="6938"/>
          <pc:sldLayoutMkLst>
            <pc:docMk/>
            <pc:sldMasterMk cId="335526584" sldId="2147484672"/>
            <pc:sldLayoutMk cId="756446974" sldId="2147484676"/>
          </pc:sldLayoutMkLst>
        </pc:sldLayoutChg>
        <pc:sldLayoutChg chg="new del replId">
          <pc:chgData name="Raimund Andrée" userId="0cf943988599aae0" providerId="LiveId" clId="{A6DB23F9-92A4-450B-9C6E-06CBD5498E63}" dt="2022-06-22T07:55:06.847" v="12" actId="6938"/>
          <pc:sldLayoutMkLst>
            <pc:docMk/>
            <pc:sldMasterMk cId="335526584" sldId="2147484672"/>
            <pc:sldLayoutMk cId="3355810335" sldId="2147484677"/>
          </pc:sldLayoutMkLst>
        </pc:sldLayoutChg>
        <pc:sldLayoutChg chg="new del replId">
          <pc:chgData name="Raimund Andrée" userId="0cf943988599aae0" providerId="LiveId" clId="{A6DB23F9-92A4-450B-9C6E-06CBD5498E63}" dt="2022-06-22T07:55:06.847" v="12" actId="6938"/>
          <pc:sldLayoutMkLst>
            <pc:docMk/>
            <pc:sldMasterMk cId="335526584" sldId="2147484672"/>
            <pc:sldLayoutMk cId="4275056286" sldId="2147484678"/>
          </pc:sldLayoutMkLst>
        </pc:sldLayoutChg>
        <pc:sldLayoutChg chg="new del replId">
          <pc:chgData name="Raimund Andrée" userId="0cf943988599aae0" providerId="LiveId" clId="{A6DB23F9-92A4-450B-9C6E-06CBD5498E63}" dt="2022-06-22T07:55:06.847" v="12" actId="6938"/>
          <pc:sldLayoutMkLst>
            <pc:docMk/>
            <pc:sldMasterMk cId="335526584" sldId="2147484672"/>
            <pc:sldLayoutMk cId="2638093574" sldId="2147484679"/>
          </pc:sldLayoutMkLst>
        </pc:sldLayoutChg>
        <pc:sldLayoutChg chg="new del replId">
          <pc:chgData name="Raimund Andrée" userId="0cf943988599aae0" providerId="LiveId" clId="{A6DB23F9-92A4-450B-9C6E-06CBD5498E63}" dt="2022-06-22T07:55:06.847" v="12" actId="6938"/>
          <pc:sldLayoutMkLst>
            <pc:docMk/>
            <pc:sldMasterMk cId="335526584" sldId="2147484672"/>
            <pc:sldLayoutMk cId="3430869021" sldId="2147484680"/>
          </pc:sldLayoutMkLst>
        </pc:sldLayoutChg>
        <pc:sldLayoutChg chg="new del replId">
          <pc:chgData name="Raimund Andrée" userId="0cf943988599aae0" providerId="LiveId" clId="{A6DB23F9-92A4-450B-9C6E-06CBD5498E63}" dt="2022-06-22T07:55:06.847" v="12" actId="6938"/>
          <pc:sldLayoutMkLst>
            <pc:docMk/>
            <pc:sldMasterMk cId="335526584" sldId="2147484672"/>
            <pc:sldLayoutMk cId="3794434276" sldId="2147484681"/>
          </pc:sldLayoutMkLst>
        </pc:sldLayoutChg>
        <pc:sldLayoutChg chg="new del replId">
          <pc:chgData name="Raimund Andrée" userId="0cf943988599aae0" providerId="LiveId" clId="{A6DB23F9-92A4-450B-9C6E-06CBD5498E63}" dt="2022-06-22T07:55:06.847" v="12" actId="6938"/>
          <pc:sldLayoutMkLst>
            <pc:docMk/>
            <pc:sldMasterMk cId="335526584" sldId="2147484672"/>
            <pc:sldLayoutMk cId="902268772" sldId="2147484682"/>
          </pc:sldLayoutMkLst>
        </pc:sldLayoutChg>
        <pc:sldLayoutChg chg="new del replId">
          <pc:chgData name="Raimund Andrée" userId="0cf943988599aae0" providerId="LiveId" clId="{A6DB23F9-92A4-450B-9C6E-06CBD5498E63}" dt="2022-06-22T07:55:06.847" v="12" actId="6938"/>
          <pc:sldLayoutMkLst>
            <pc:docMk/>
            <pc:sldMasterMk cId="335526584" sldId="2147484672"/>
            <pc:sldLayoutMk cId="2625148778" sldId="2147484683"/>
          </pc:sldLayoutMkLst>
        </pc:sldLayoutChg>
      </pc:sldMasterChg>
    </pc:docChg>
  </pc:docChgLst>
  <pc:docChgLst>
    <pc:chgData name="Raimund" userId="0cf943988599aae0" providerId="LiveId" clId="{4E31FF13-F4A6-47C3-9E28-55945E5152BF}"/>
    <pc:docChg chg="undo custSel addSld modSld sldOrd modSection">
      <pc:chgData name="Raimund" userId="0cf943988599aae0" providerId="LiveId" clId="{4E31FF13-F4A6-47C3-9E28-55945E5152BF}" dt="2022-04-26T00:00:06.495" v="135" actId="20577"/>
      <pc:docMkLst>
        <pc:docMk/>
      </pc:docMkLst>
      <pc:sldChg chg="modSp mod">
        <pc:chgData name="Raimund" userId="0cf943988599aae0" providerId="LiveId" clId="{4E31FF13-F4A6-47C3-9E28-55945E5152BF}" dt="2022-04-26T00:00:06.495" v="135" actId="20577"/>
        <pc:sldMkLst>
          <pc:docMk/>
          <pc:sldMk cId="225924487" sldId="1853"/>
        </pc:sldMkLst>
        <pc:spChg chg="mod">
          <ac:chgData name="Raimund" userId="0cf943988599aae0" providerId="LiveId" clId="{4E31FF13-F4A6-47C3-9E28-55945E5152BF}" dt="2022-04-26T00:00:06.495" v="135" actId="20577"/>
          <ac:spMkLst>
            <pc:docMk/>
            <pc:sldMk cId="225924487" sldId="1853"/>
            <ac:spMk id="2" creationId="{0CED1F24-0E42-4CEB-8F7B-D9267C83299F}"/>
          </ac:spMkLst>
        </pc:spChg>
      </pc:sldChg>
      <pc:sldChg chg="modSp mod">
        <pc:chgData name="Raimund" userId="0cf943988599aae0" providerId="LiveId" clId="{4E31FF13-F4A6-47C3-9E28-55945E5152BF}" dt="2022-04-25T23:59:57.417" v="133" actId="20577"/>
        <pc:sldMkLst>
          <pc:docMk/>
          <pc:sldMk cId="2980022429" sldId="1857"/>
        </pc:sldMkLst>
        <pc:spChg chg="mod">
          <ac:chgData name="Raimund" userId="0cf943988599aae0" providerId="LiveId" clId="{4E31FF13-F4A6-47C3-9E28-55945E5152BF}" dt="2022-04-25T23:59:57.417" v="133" actId="20577"/>
          <ac:spMkLst>
            <pc:docMk/>
            <pc:sldMk cId="2980022429" sldId="1857"/>
            <ac:spMk id="3" creationId="{CF5FA86A-3E84-4208-8635-5EEDEAF9EFB9}"/>
          </ac:spMkLst>
        </pc:spChg>
      </pc:sldChg>
      <pc:sldChg chg="addSp modSp mod modAnim">
        <pc:chgData name="Raimund" userId="0cf943988599aae0" providerId="LiveId" clId="{4E31FF13-F4A6-47C3-9E28-55945E5152BF}" dt="2022-04-25T23:56:11.430" v="117"/>
        <pc:sldMkLst>
          <pc:docMk/>
          <pc:sldMk cId="1732882812" sldId="2142"/>
        </pc:sldMkLst>
        <pc:spChg chg="mod">
          <ac:chgData name="Raimund" userId="0cf943988599aae0" providerId="LiveId" clId="{4E31FF13-F4A6-47C3-9E28-55945E5152BF}" dt="2022-04-25T23:54:47.261" v="97"/>
          <ac:spMkLst>
            <pc:docMk/>
            <pc:sldMk cId="1732882812" sldId="2142"/>
            <ac:spMk id="14" creationId="{D4C80B15-9EFD-48B5-9D4E-1EC3A7D30E07}"/>
          </ac:spMkLst>
        </pc:spChg>
        <pc:spChg chg="mod">
          <ac:chgData name="Raimund" userId="0cf943988599aae0" providerId="LiveId" clId="{4E31FF13-F4A6-47C3-9E28-55945E5152BF}" dt="2022-04-25T23:55:02.055" v="110" actId="20577"/>
          <ac:spMkLst>
            <pc:docMk/>
            <pc:sldMk cId="1732882812" sldId="2142"/>
            <ac:spMk id="16" creationId="{4FA9ED99-8B49-4EFF-AB16-620A6CB7E44B}"/>
          </ac:spMkLst>
        </pc:spChg>
        <pc:spChg chg="mod">
          <ac:chgData name="Raimund" userId="0cf943988599aae0" providerId="LiveId" clId="{4E31FF13-F4A6-47C3-9E28-55945E5152BF}" dt="2022-04-25T23:54:32.468" v="96" actId="20577"/>
          <ac:spMkLst>
            <pc:docMk/>
            <pc:sldMk cId="1732882812" sldId="2142"/>
            <ac:spMk id="19" creationId="{272143D8-8FDE-4B56-BE89-EB63B7B26D8C}"/>
          </ac:spMkLst>
        </pc:spChg>
        <pc:spChg chg="mod">
          <ac:chgData name="Raimund" userId="0cf943988599aae0" providerId="LiveId" clId="{4E31FF13-F4A6-47C3-9E28-55945E5152BF}" dt="2022-04-25T23:56:11.430" v="117"/>
          <ac:spMkLst>
            <pc:docMk/>
            <pc:sldMk cId="1732882812" sldId="2142"/>
            <ac:spMk id="40" creationId="{EE34F721-857A-4570-AB50-4B1C1D8BE621}"/>
          </ac:spMkLst>
        </pc:spChg>
        <pc:cxnChg chg="mod">
          <ac:chgData name="Raimund" userId="0cf943988599aae0" providerId="LiveId" clId="{4E31FF13-F4A6-47C3-9E28-55945E5152BF}" dt="2022-04-25T23:54:55.840" v="98" actId="14100"/>
          <ac:cxnSpMkLst>
            <pc:docMk/>
            <pc:sldMk cId="1732882812" sldId="2142"/>
            <ac:cxnSpMk id="31" creationId="{3DE67EE8-511D-499D-8707-9BBF496A4339}"/>
          </ac:cxnSpMkLst>
        </pc:cxnChg>
        <pc:cxnChg chg="add mod">
          <ac:chgData name="Raimund" userId="0cf943988599aae0" providerId="LiveId" clId="{4E31FF13-F4A6-47C3-9E28-55945E5152BF}" dt="2022-04-25T23:55:47.295" v="114" actId="14100"/>
          <ac:cxnSpMkLst>
            <pc:docMk/>
            <pc:sldMk cId="1732882812" sldId="2142"/>
            <ac:cxnSpMk id="49" creationId="{395DBF70-6203-450F-85CF-EE445AE41E0C}"/>
          </ac:cxnSpMkLst>
        </pc:cxnChg>
      </pc:sldChg>
      <pc:sldChg chg="addSp delSp modSp new mod chgLayout">
        <pc:chgData name="Raimund" userId="0cf943988599aae0" providerId="LiveId" clId="{4E31FF13-F4A6-47C3-9E28-55945E5152BF}" dt="2022-04-25T23:52:16.194" v="29" actId="20577"/>
        <pc:sldMkLst>
          <pc:docMk/>
          <pc:sldMk cId="1837077838" sldId="2148"/>
        </pc:sldMkLst>
        <pc:spChg chg="del mod ord">
          <ac:chgData name="Raimund" userId="0cf943988599aae0" providerId="LiveId" clId="{4E31FF13-F4A6-47C3-9E28-55945E5152BF}" dt="2022-04-25T23:51:34.647" v="1" actId="700"/>
          <ac:spMkLst>
            <pc:docMk/>
            <pc:sldMk cId="1837077838" sldId="2148"/>
            <ac:spMk id="2" creationId="{A0538E6A-7930-4A4A-BD98-3F50EF7FB452}"/>
          </ac:spMkLst>
        </pc:spChg>
        <pc:spChg chg="del">
          <ac:chgData name="Raimund" userId="0cf943988599aae0" providerId="LiveId" clId="{4E31FF13-F4A6-47C3-9E28-55945E5152BF}" dt="2022-04-25T23:51:34.647" v="1" actId="700"/>
          <ac:spMkLst>
            <pc:docMk/>
            <pc:sldMk cId="1837077838" sldId="2148"/>
            <ac:spMk id="3" creationId="{33B584EC-ED3F-43F6-BC10-6E26DDBD4FBD}"/>
          </ac:spMkLst>
        </pc:spChg>
        <pc:spChg chg="add mod ord">
          <ac:chgData name="Raimund" userId="0cf943988599aae0" providerId="LiveId" clId="{4E31FF13-F4A6-47C3-9E28-55945E5152BF}" dt="2022-04-25T23:52:16.194" v="29" actId="20577"/>
          <ac:spMkLst>
            <pc:docMk/>
            <pc:sldMk cId="1837077838" sldId="2148"/>
            <ac:spMk id="4" creationId="{0483E8A5-A0B0-4C8B-ACA5-651873EA8438}"/>
          </ac:spMkLst>
        </pc:spChg>
      </pc:sldChg>
      <pc:sldChg chg="modSp add mod ord">
        <pc:chgData name="Raimund" userId="0cf943988599aae0" providerId="LiveId" clId="{4E31FF13-F4A6-47C3-9E28-55945E5152BF}" dt="2022-04-25T23:53:39.419" v="80" actId="313"/>
        <pc:sldMkLst>
          <pc:docMk/>
          <pc:sldMk cId="3935781007" sldId="2149"/>
        </pc:sldMkLst>
        <pc:spChg chg="mod">
          <ac:chgData name="Raimund" userId="0cf943988599aae0" providerId="LiveId" clId="{4E31FF13-F4A6-47C3-9E28-55945E5152BF}" dt="2022-04-25T23:53:39.419" v="80" actId="313"/>
          <ac:spMkLst>
            <pc:docMk/>
            <pc:sldMk cId="3935781007" sldId="2149"/>
            <ac:spMk id="4" creationId="{0483E8A5-A0B0-4C8B-ACA5-651873EA8438}"/>
          </ac:spMkLst>
        </pc:spChg>
      </pc:sldChg>
      <pc:sldChg chg="modSp add mod">
        <pc:chgData name="Raimund" userId="0cf943988599aae0" providerId="LiveId" clId="{4E31FF13-F4A6-47C3-9E28-55945E5152BF}" dt="2022-04-25T23:58:58.172" v="131" actId="20577"/>
        <pc:sldMkLst>
          <pc:docMk/>
          <pc:sldMk cId="1099612816" sldId="2150"/>
        </pc:sldMkLst>
        <pc:spChg chg="mod">
          <ac:chgData name="Raimund" userId="0cf943988599aae0" providerId="LiveId" clId="{4E31FF13-F4A6-47C3-9E28-55945E5152BF}" dt="2022-04-25T23:58:58.172" v="131" actId="20577"/>
          <ac:spMkLst>
            <pc:docMk/>
            <pc:sldMk cId="1099612816" sldId="2150"/>
            <ac:spMk id="4" creationId="{0483E8A5-A0B0-4C8B-ACA5-651873EA8438}"/>
          </ac:spMkLst>
        </pc:spChg>
      </pc:sldChg>
      <pc:sldChg chg="add">
        <pc:chgData name="Raimund" userId="0cf943988599aae0" providerId="LiveId" clId="{4E31FF13-F4A6-47C3-9E28-55945E5152BF}" dt="2022-04-25T23:59:23.624" v="132"/>
        <pc:sldMkLst>
          <pc:docMk/>
          <pc:sldMk cId="929821553" sldId="2151"/>
        </pc:sldMkLst>
      </pc:sldChg>
    </pc:docChg>
  </pc:docChgLst>
  <pc:docChgLst>
    <pc:chgData name="Raimund Andrée" userId="0cf943988599aae0" providerId="LiveId" clId="{F6FD6DBE-A18B-4524-B228-29D5E41B9F16}"/>
    <pc:docChg chg="modSld">
      <pc:chgData name="Raimund Andrée" userId="0cf943988599aae0" providerId="LiveId" clId="{F6FD6DBE-A18B-4524-B228-29D5E41B9F16}" dt="2019-12-18T14:56:26.208" v="0" actId="20577"/>
      <pc:docMkLst>
        <pc:docMk/>
      </pc:docMkLst>
      <pc:sldChg chg="modSp">
        <pc:chgData name="Raimund Andrée" userId="0cf943988599aae0" providerId="LiveId" clId="{F6FD6DBE-A18B-4524-B228-29D5E41B9F16}" dt="2019-12-18T14:56:26.208" v="0" actId="20577"/>
        <pc:sldMkLst>
          <pc:docMk/>
          <pc:sldMk cId="160857806" sldId="2144"/>
        </pc:sldMkLst>
        <pc:spChg chg="mod">
          <ac:chgData name="Raimund Andrée" userId="0cf943988599aae0" providerId="LiveId" clId="{F6FD6DBE-A18B-4524-B228-29D5E41B9F16}" dt="2019-12-18T14:56:26.208" v="0" actId="20577"/>
          <ac:spMkLst>
            <pc:docMk/>
            <pc:sldMk cId="160857806" sldId="2144"/>
            <ac:spMk id="3" creationId="{5F969747-809E-48A6-A10B-E66407AC18D0}"/>
          </ac:spMkLst>
        </pc:spChg>
      </pc:sldChg>
    </pc:docChg>
  </pc:docChgLst>
  <pc:docChgLst>
    <pc:chgData name="Raimund Andrée" userId="0cf943988599aae0" providerId="LiveId" clId="{225770B9-2323-4184-B94D-B47821F0237B}"/>
    <pc:docChg chg="modSld">
      <pc:chgData name="Raimund Andrée" userId="0cf943988599aae0" providerId="LiveId" clId="{225770B9-2323-4184-B94D-B47821F0237B}" dt="2022-05-06T09:31:01.088" v="0" actId="6549"/>
      <pc:docMkLst>
        <pc:docMk/>
      </pc:docMkLst>
      <pc:sldChg chg="modNotesTx">
        <pc:chgData name="Raimund Andrée" userId="0cf943988599aae0" providerId="LiveId" clId="{225770B9-2323-4184-B94D-B47821F0237B}" dt="2022-05-06T09:31:01.088" v="0" actId="6549"/>
        <pc:sldMkLst>
          <pc:docMk/>
          <pc:sldMk cId="107012821" sldId="187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74D648-DBDF-457E-B401-C934B5596DA9}" type="doc">
      <dgm:prSet loTypeId="urn:microsoft.com/office/officeart/2005/8/layout/pyramid1" loCatId="pyramid" qsTypeId="urn:microsoft.com/office/officeart/2005/8/quickstyle/simple1" qsCatId="simple" csTypeId="urn:microsoft.com/office/officeart/2005/8/colors/colorful5" csCatId="colorful" phldr="1"/>
      <dgm:spPr/>
      <dgm:t>
        <a:bodyPr/>
        <a:lstStyle/>
        <a:p>
          <a:endParaRPr lang="en-US"/>
        </a:p>
      </dgm:t>
    </dgm:pt>
    <dgm:pt modelId="{35E008A6-8D73-448F-9EAC-D8187B164359}">
      <dgm:prSet/>
      <dgm:spPr/>
      <dgm:t>
        <a:bodyPr/>
        <a:lstStyle/>
        <a:p>
          <a:r>
            <a:rPr lang="en-GB"/>
            <a:t>Node</a:t>
          </a:r>
          <a:endParaRPr lang="en-US"/>
        </a:p>
      </dgm:t>
    </dgm:pt>
    <dgm:pt modelId="{CC706F0D-5809-45D1-8194-D501C0397887}" type="parTrans" cxnId="{8393B2A6-E39D-43BC-BA53-311A539AB2A9}">
      <dgm:prSet/>
      <dgm:spPr/>
      <dgm:t>
        <a:bodyPr/>
        <a:lstStyle/>
        <a:p>
          <a:endParaRPr lang="en-US"/>
        </a:p>
      </dgm:t>
    </dgm:pt>
    <dgm:pt modelId="{55B782A9-8133-4BF1-A803-6F0AF1D4CAB6}" type="sibTrans" cxnId="{8393B2A6-E39D-43BC-BA53-311A539AB2A9}">
      <dgm:prSet/>
      <dgm:spPr/>
      <dgm:t>
        <a:bodyPr/>
        <a:lstStyle/>
        <a:p>
          <a:endParaRPr lang="en-US"/>
        </a:p>
      </dgm:t>
    </dgm:pt>
    <dgm:pt modelId="{F85EEA4F-6853-4371-832B-A966B0733C71}">
      <dgm:prSet/>
      <dgm:spPr/>
      <dgm:t>
        <a:bodyPr/>
        <a:lstStyle/>
        <a:p>
          <a:r>
            <a:rPr lang="en-GB"/>
            <a:t>Location</a:t>
          </a:r>
          <a:endParaRPr lang="en-US"/>
        </a:p>
      </dgm:t>
    </dgm:pt>
    <dgm:pt modelId="{54E83A1C-36F4-41F3-A84F-26F14C39E9C8}" type="parTrans" cxnId="{A40755B8-146F-48E1-AB9D-8949848A243A}">
      <dgm:prSet/>
      <dgm:spPr/>
      <dgm:t>
        <a:bodyPr/>
        <a:lstStyle/>
        <a:p>
          <a:endParaRPr lang="en-US"/>
        </a:p>
      </dgm:t>
    </dgm:pt>
    <dgm:pt modelId="{727E901A-97CA-4162-A6F2-468DD14A8131}" type="sibTrans" cxnId="{A40755B8-146F-48E1-AB9D-8949848A243A}">
      <dgm:prSet/>
      <dgm:spPr/>
      <dgm:t>
        <a:bodyPr/>
        <a:lstStyle/>
        <a:p>
          <a:endParaRPr lang="en-US"/>
        </a:p>
      </dgm:t>
    </dgm:pt>
    <dgm:pt modelId="{E1F5C7B9-F48C-4E4B-8663-2022211994D3}">
      <dgm:prSet/>
      <dgm:spPr/>
      <dgm:t>
        <a:bodyPr/>
        <a:lstStyle/>
        <a:p>
          <a:r>
            <a:rPr lang="en-GB" dirty="0"/>
            <a:t>Environment</a:t>
          </a:r>
        </a:p>
      </dgm:t>
    </dgm:pt>
    <dgm:pt modelId="{8ADEBFE0-86F6-4A77-9696-D3ACED3FDEC6}" type="parTrans" cxnId="{5420AFF5-82B5-49A7-B131-3CC4DD2DE100}">
      <dgm:prSet/>
      <dgm:spPr/>
      <dgm:t>
        <a:bodyPr/>
        <a:lstStyle/>
        <a:p>
          <a:endParaRPr lang="en-US"/>
        </a:p>
      </dgm:t>
    </dgm:pt>
    <dgm:pt modelId="{CAD244DA-7979-4421-9DD5-2AEF56ECF626}" type="sibTrans" cxnId="{5420AFF5-82B5-49A7-B131-3CC4DD2DE100}">
      <dgm:prSet/>
      <dgm:spPr/>
      <dgm:t>
        <a:bodyPr/>
        <a:lstStyle/>
        <a:p>
          <a:endParaRPr lang="en-US"/>
        </a:p>
      </dgm:t>
    </dgm:pt>
    <dgm:pt modelId="{423EBDD8-9ED4-426D-BA7F-D5CE08D4D6F4}">
      <dgm:prSet/>
      <dgm:spPr/>
      <dgm:t>
        <a:bodyPr/>
        <a:lstStyle/>
        <a:p>
          <a:r>
            <a:rPr lang="en-GB" dirty="0"/>
            <a:t>Role</a:t>
          </a:r>
        </a:p>
      </dgm:t>
    </dgm:pt>
    <dgm:pt modelId="{F1472498-BBA2-47DF-A014-91509028CAFF}" type="parTrans" cxnId="{4ED1E4FE-7F6B-41C8-9342-9F3937EBAD66}">
      <dgm:prSet/>
      <dgm:spPr/>
      <dgm:t>
        <a:bodyPr/>
        <a:lstStyle/>
        <a:p>
          <a:endParaRPr lang="en-US"/>
        </a:p>
      </dgm:t>
    </dgm:pt>
    <dgm:pt modelId="{E2D58276-F67A-4DDE-B5F9-A312B7993584}" type="sibTrans" cxnId="{4ED1E4FE-7F6B-41C8-9342-9F3937EBAD66}">
      <dgm:prSet/>
      <dgm:spPr/>
      <dgm:t>
        <a:bodyPr/>
        <a:lstStyle/>
        <a:p>
          <a:endParaRPr lang="en-US"/>
        </a:p>
      </dgm:t>
    </dgm:pt>
    <dgm:pt modelId="{713364D8-E126-469C-8916-905E87E2F4BE}">
      <dgm:prSet/>
      <dgm:spPr/>
      <dgm:t>
        <a:bodyPr/>
        <a:lstStyle/>
        <a:p>
          <a:r>
            <a:rPr lang="en-GB" dirty="0"/>
            <a:t>Baseline</a:t>
          </a:r>
        </a:p>
      </dgm:t>
    </dgm:pt>
    <dgm:pt modelId="{DDB61199-242B-425B-B446-0CFC5A4141E8}" type="parTrans" cxnId="{C3D8710B-B0F3-49D4-B95C-834687DF2CC6}">
      <dgm:prSet/>
      <dgm:spPr/>
      <dgm:t>
        <a:bodyPr/>
        <a:lstStyle/>
        <a:p>
          <a:endParaRPr lang="en-US"/>
        </a:p>
      </dgm:t>
    </dgm:pt>
    <dgm:pt modelId="{9721745C-42DC-4C54-A38A-9D59B79A1569}" type="sibTrans" cxnId="{C3D8710B-B0F3-49D4-B95C-834687DF2CC6}">
      <dgm:prSet/>
      <dgm:spPr/>
      <dgm:t>
        <a:bodyPr/>
        <a:lstStyle/>
        <a:p>
          <a:endParaRPr lang="en-US"/>
        </a:p>
      </dgm:t>
    </dgm:pt>
    <dgm:pt modelId="{6D45B504-6109-43D6-A831-C56382839E70}" type="pres">
      <dgm:prSet presAssocID="{F874D648-DBDF-457E-B401-C934B5596DA9}" presName="Name0" presStyleCnt="0">
        <dgm:presLayoutVars>
          <dgm:dir/>
          <dgm:animLvl val="lvl"/>
          <dgm:resizeHandles val="exact"/>
        </dgm:presLayoutVars>
      </dgm:prSet>
      <dgm:spPr/>
    </dgm:pt>
    <dgm:pt modelId="{F224A764-2902-4AAF-BBAF-E343A2642A3D}" type="pres">
      <dgm:prSet presAssocID="{35E008A6-8D73-448F-9EAC-D8187B164359}" presName="Name8" presStyleCnt="0"/>
      <dgm:spPr/>
    </dgm:pt>
    <dgm:pt modelId="{25B204CF-81F3-4392-B833-4FDC4A93DE00}" type="pres">
      <dgm:prSet presAssocID="{35E008A6-8D73-448F-9EAC-D8187B164359}" presName="level" presStyleLbl="node1" presStyleIdx="0" presStyleCnt="5">
        <dgm:presLayoutVars>
          <dgm:chMax val="1"/>
          <dgm:bulletEnabled val="1"/>
        </dgm:presLayoutVars>
      </dgm:prSet>
      <dgm:spPr/>
    </dgm:pt>
    <dgm:pt modelId="{E537713A-3727-4058-9BD1-48030D6781B5}" type="pres">
      <dgm:prSet presAssocID="{35E008A6-8D73-448F-9EAC-D8187B164359}" presName="levelTx" presStyleLbl="revTx" presStyleIdx="0" presStyleCnt="0">
        <dgm:presLayoutVars>
          <dgm:chMax val="1"/>
          <dgm:bulletEnabled val="1"/>
        </dgm:presLayoutVars>
      </dgm:prSet>
      <dgm:spPr/>
    </dgm:pt>
    <dgm:pt modelId="{61542258-68A7-400E-B9F2-ACFD02269092}" type="pres">
      <dgm:prSet presAssocID="{F85EEA4F-6853-4371-832B-A966B0733C71}" presName="Name8" presStyleCnt="0"/>
      <dgm:spPr/>
    </dgm:pt>
    <dgm:pt modelId="{ADC9741A-D5A3-4821-BAA7-99AD90FEDF22}" type="pres">
      <dgm:prSet presAssocID="{F85EEA4F-6853-4371-832B-A966B0733C71}" presName="level" presStyleLbl="node1" presStyleIdx="1" presStyleCnt="5">
        <dgm:presLayoutVars>
          <dgm:chMax val="1"/>
          <dgm:bulletEnabled val="1"/>
        </dgm:presLayoutVars>
      </dgm:prSet>
      <dgm:spPr/>
    </dgm:pt>
    <dgm:pt modelId="{72380D71-A546-4131-ABA5-387E6BF1F597}" type="pres">
      <dgm:prSet presAssocID="{F85EEA4F-6853-4371-832B-A966B0733C71}" presName="levelTx" presStyleLbl="revTx" presStyleIdx="0" presStyleCnt="0">
        <dgm:presLayoutVars>
          <dgm:chMax val="1"/>
          <dgm:bulletEnabled val="1"/>
        </dgm:presLayoutVars>
      </dgm:prSet>
      <dgm:spPr/>
    </dgm:pt>
    <dgm:pt modelId="{0633A604-4674-42F0-A062-2CBC6F55DEDD}" type="pres">
      <dgm:prSet presAssocID="{E1F5C7B9-F48C-4E4B-8663-2022211994D3}" presName="Name8" presStyleCnt="0"/>
      <dgm:spPr/>
    </dgm:pt>
    <dgm:pt modelId="{C57E8E78-1347-4238-AD93-824FDFB921C5}" type="pres">
      <dgm:prSet presAssocID="{E1F5C7B9-F48C-4E4B-8663-2022211994D3}" presName="level" presStyleLbl="node1" presStyleIdx="2" presStyleCnt="5">
        <dgm:presLayoutVars>
          <dgm:chMax val="1"/>
          <dgm:bulletEnabled val="1"/>
        </dgm:presLayoutVars>
      </dgm:prSet>
      <dgm:spPr/>
    </dgm:pt>
    <dgm:pt modelId="{3D540B2D-35A4-4F6E-A63A-AB15E16BDFF5}" type="pres">
      <dgm:prSet presAssocID="{E1F5C7B9-F48C-4E4B-8663-2022211994D3}" presName="levelTx" presStyleLbl="revTx" presStyleIdx="0" presStyleCnt="0">
        <dgm:presLayoutVars>
          <dgm:chMax val="1"/>
          <dgm:bulletEnabled val="1"/>
        </dgm:presLayoutVars>
      </dgm:prSet>
      <dgm:spPr/>
    </dgm:pt>
    <dgm:pt modelId="{D21572B4-EECE-4AEB-A742-073524A901BF}" type="pres">
      <dgm:prSet presAssocID="{423EBDD8-9ED4-426D-BA7F-D5CE08D4D6F4}" presName="Name8" presStyleCnt="0"/>
      <dgm:spPr/>
    </dgm:pt>
    <dgm:pt modelId="{7359332C-E007-42DF-99AD-5E1C232E488D}" type="pres">
      <dgm:prSet presAssocID="{423EBDD8-9ED4-426D-BA7F-D5CE08D4D6F4}" presName="level" presStyleLbl="node1" presStyleIdx="3" presStyleCnt="5">
        <dgm:presLayoutVars>
          <dgm:chMax val="1"/>
          <dgm:bulletEnabled val="1"/>
        </dgm:presLayoutVars>
      </dgm:prSet>
      <dgm:spPr/>
    </dgm:pt>
    <dgm:pt modelId="{68D429C1-0EEE-45A8-BDDA-10FDABAE3A7E}" type="pres">
      <dgm:prSet presAssocID="{423EBDD8-9ED4-426D-BA7F-D5CE08D4D6F4}" presName="levelTx" presStyleLbl="revTx" presStyleIdx="0" presStyleCnt="0">
        <dgm:presLayoutVars>
          <dgm:chMax val="1"/>
          <dgm:bulletEnabled val="1"/>
        </dgm:presLayoutVars>
      </dgm:prSet>
      <dgm:spPr/>
    </dgm:pt>
    <dgm:pt modelId="{6E637069-C677-41ED-B67F-DC7D1E06A169}" type="pres">
      <dgm:prSet presAssocID="{713364D8-E126-469C-8916-905E87E2F4BE}" presName="Name8" presStyleCnt="0"/>
      <dgm:spPr/>
    </dgm:pt>
    <dgm:pt modelId="{50BCED9E-8F9C-4531-A2D8-EF5D19490D63}" type="pres">
      <dgm:prSet presAssocID="{713364D8-E126-469C-8916-905E87E2F4BE}" presName="level" presStyleLbl="node1" presStyleIdx="4" presStyleCnt="5">
        <dgm:presLayoutVars>
          <dgm:chMax val="1"/>
          <dgm:bulletEnabled val="1"/>
        </dgm:presLayoutVars>
      </dgm:prSet>
      <dgm:spPr/>
    </dgm:pt>
    <dgm:pt modelId="{B8399698-092D-48C6-9353-BDB15EAA613B}" type="pres">
      <dgm:prSet presAssocID="{713364D8-E126-469C-8916-905E87E2F4BE}" presName="levelTx" presStyleLbl="revTx" presStyleIdx="0" presStyleCnt="0">
        <dgm:presLayoutVars>
          <dgm:chMax val="1"/>
          <dgm:bulletEnabled val="1"/>
        </dgm:presLayoutVars>
      </dgm:prSet>
      <dgm:spPr/>
    </dgm:pt>
  </dgm:ptLst>
  <dgm:cxnLst>
    <dgm:cxn modelId="{C3D8710B-B0F3-49D4-B95C-834687DF2CC6}" srcId="{F874D648-DBDF-457E-B401-C934B5596DA9}" destId="{713364D8-E126-469C-8916-905E87E2F4BE}" srcOrd="4" destOrd="0" parTransId="{DDB61199-242B-425B-B446-0CFC5A4141E8}" sibTransId="{9721745C-42DC-4C54-A38A-9D59B79A1569}"/>
    <dgm:cxn modelId="{DF623C10-B674-4DEE-9347-D8C7FB9A0A38}" type="presOf" srcId="{F85EEA4F-6853-4371-832B-A966B0733C71}" destId="{72380D71-A546-4131-ABA5-387E6BF1F597}" srcOrd="1" destOrd="0" presId="urn:microsoft.com/office/officeart/2005/8/layout/pyramid1"/>
    <dgm:cxn modelId="{63ACDD20-00F9-429B-B62B-887CC0C61F89}" type="presOf" srcId="{F874D648-DBDF-457E-B401-C934B5596DA9}" destId="{6D45B504-6109-43D6-A831-C56382839E70}" srcOrd="0" destOrd="0" presId="urn:microsoft.com/office/officeart/2005/8/layout/pyramid1"/>
    <dgm:cxn modelId="{57BE9123-72FA-461E-80F4-4C2AA98C55E2}" type="presOf" srcId="{E1F5C7B9-F48C-4E4B-8663-2022211994D3}" destId="{C57E8E78-1347-4238-AD93-824FDFB921C5}" srcOrd="0" destOrd="0" presId="urn:microsoft.com/office/officeart/2005/8/layout/pyramid1"/>
    <dgm:cxn modelId="{5E0F742A-E930-4EEB-BC63-86676445E4A6}" type="presOf" srcId="{35E008A6-8D73-448F-9EAC-D8187B164359}" destId="{E537713A-3727-4058-9BD1-48030D6781B5}" srcOrd="1" destOrd="0" presId="urn:microsoft.com/office/officeart/2005/8/layout/pyramid1"/>
    <dgm:cxn modelId="{77BA4A2D-DD82-4E90-8E9E-9898AE550240}" type="presOf" srcId="{423EBDD8-9ED4-426D-BA7F-D5CE08D4D6F4}" destId="{68D429C1-0EEE-45A8-BDDA-10FDABAE3A7E}" srcOrd="1" destOrd="0" presId="urn:microsoft.com/office/officeart/2005/8/layout/pyramid1"/>
    <dgm:cxn modelId="{1BE7492F-11EE-414F-9D16-C9BAD780C0D4}" type="presOf" srcId="{423EBDD8-9ED4-426D-BA7F-D5CE08D4D6F4}" destId="{7359332C-E007-42DF-99AD-5E1C232E488D}" srcOrd="0" destOrd="0" presId="urn:microsoft.com/office/officeart/2005/8/layout/pyramid1"/>
    <dgm:cxn modelId="{6296403D-41A4-4243-BF73-04D05D6BD6DC}" type="presOf" srcId="{713364D8-E126-469C-8916-905E87E2F4BE}" destId="{B8399698-092D-48C6-9353-BDB15EAA613B}" srcOrd="1" destOrd="0" presId="urn:microsoft.com/office/officeart/2005/8/layout/pyramid1"/>
    <dgm:cxn modelId="{5A157864-A594-4962-B7AA-D70E17713CBA}" type="presOf" srcId="{35E008A6-8D73-448F-9EAC-D8187B164359}" destId="{25B204CF-81F3-4392-B833-4FDC4A93DE00}" srcOrd="0" destOrd="0" presId="urn:microsoft.com/office/officeart/2005/8/layout/pyramid1"/>
    <dgm:cxn modelId="{643AE353-0973-4B06-BF08-86FD13939BEE}" type="presOf" srcId="{E1F5C7B9-F48C-4E4B-8663-2022211994D3}" destId="{3D540B2D-35A4-4F6E-A63A-AB15E16BDFF5}" srcOrd="1" destOrd="0" presId="urn:microsoft.com/office/officeart/2005/8/layout/pyramid1"/>
    <dgm:cxn modelId="{45CC977B-88F5-4BC8-8209-3D6E4F0B75F0}" type="presOf" srcId="{F85EEA4F-6853-4371-832B-A966B0733C71}" destId="{ADC9741A-D5A3-4821-BAA7-99AD90FEDF22}" srcOrd="0" destOrd="0" presId="urn:microsoft.com/office/officeart/2005/8/layout/pyramid1"/>
    <dgm:cxn modelId="{8393B2A6-E39D-43BC-BA53-311A539AB2A9}" srcId="{F874D648-DBDF-457E-B401-C934B5596DA9}" destId="{35E008A6-8D73-448F-9EAC-D8187B164359}" srcOrd="0" destOrd="0" parTransId="{CC706F0D-5809-45D1-8194-D501C0397887}" sibTransId="{55B782A9-8133-4BF1-A803-6F0AF1D4CAB6}"/>
    <dgm:cxn modelId="{A40755B8-146F-48E1-AB9D-8949848A243A}" srcId="{F874D648-DBDF-457E-B401-C934B5596DA9}" destId="{F85EEA4F-6853-4371-832B-A966B0733C71}" srcOrd="1" destOrd="0" parTransId="{54E83A1C-36F4-41F3-A84F-26F14C39E9C8}" sibTransId="{727E901A-97CA-4162-A6F2-468DD14A8131}"/>
    <dgm:cxn modelId="{F66504CC-78E7-419F-9F8C-450E9DAEC359}" type="presOf" srcId="{713364D8-E126-469C-8916-905E87E2F4BE}" destId="{50BCED9E-8F9C-4531-A2D8-EF5D19490D63}" srcOrd="0" destOrd="0" presId="urn:microsoft.com/office/officeart/2005/8/layout/pyramid1"/>
    <dgm:cxn modelId="{5420AFF5-82B5-49A7-B131-3CC4DD2DE100}" srcId="{F874D648-DBDF-457E-B401-C934B5596DA9}" destId="{E1F5C7B9-F48C-4E4B-8663-2022211994D3}" srcOrd="2" destOrd="0" parTransId="{8ADEBFE0-86F6-4A77-9696-D3ACED3FDEC6}" sibTransId="{CAD244DA-7979-4421-9DD5-2AEF56ECF626}"/>
    <dgm:cxn modelId="{4ED1E4FE-7F6B-41C8-9342-9F3937EBAD66}" srcId="{F874D648-DBDF-457E-B401-C934B5596DA9}" destId="{423EBDD8-9ED4-426D-BA7F-D5CE08D4D6F4}" srcOrd="3" destOrd="0" parTransId="{F1472498-BBA2-47DF-A014-91509028CAFF}" sibTransId="{E2D58276-F67A-4DDE-B5F9-A312B7993584}"/>
    <dgm:cxn modelId="{F4302BD1-316C-4616-AA85-D4AD51BAFA3F}" type="presParOf" srcId="{6D45B504-6109-43D6-A831-C56382839E70}" destId="{F224A764-2902-4AAF-BBAF-E343A2642A3D}" srcOrd="0" destOrd="0" presId="urn:microsoft.com/office/officeart/2005/8/layout/pyramid1"/>
    <dgm:cxn modelId="{2A7113C1-D9F9-4B23-8E3A-C9D453319FE7}" type="presParOf" srcId="{F224A764-2902-4AAF-BBAF-E343A2642A3D}" destId="{25B204CF-81F3-4392-B833-4FDC4A93DE00}" srcOrd="0" destOrd="0" presId="urn:microsoft.com/office/officeart/2005/8/layout/pyramid1"/>
    <dgm:cxn modelId="{1ECDDE35-FE3C-4448-91A7-D7381543416B}" type="presParOf" srcId="{F224A764-2902-4AAF-BBAF-E343A2642A3D}" destId="{E537713A-3727-4058-9BD1-48030D6781B5}" srcOrd="1" destOrd="0" presId="urn:microsoft.com/office/officeart/2005/8/layout/pyramid1"/>
    <dgm:cxn modelId="{A6A26406-6661-4E7B-A339-826BDEB04C20}" type="presParOf" srcId="{6D45B504-6109-43D6-A831-C56382839E70}" destId="{61542258-68A7-400E-B9F2-ACFD02269092}" srcOrd="1" destOrd="0" presId="urn:microsoft.com/office/officeart/2005/8/layout/pyramid1"/>
    <dgm:cxn modelId="{F2B5E192-4D1D-4568-924E-F9E380C46601}" type="presParOf" srcId="{61542258-68A7-400E-B9F2-ACFD02269092}" destId="{ADC9741A-D5A3-4821-BAA7-99AD90FEDF22}" srcOrd="0" destOrd="0" presId="urn:microsoft.com/office/officeart/2005/8/layout/pyramid1"/>
    <dgm:cxn modelId="{C65AEF60-C806-4D66-9706-C4AF371951C1}" type="presParOf" srcId="{61542258-68A7-400E-B9F2-ACFD02269092}" destId="{72380D71-A546-4131-ABA5-387E6BF1F597}" srcOrd="1" destOrd="0" presId="urn:microsoft.com/office/officeart/2005/8/layout/pyramid1"/>
    <dgm:cxn modelId="{11D2E05E-8FC0-4609-974E-DADFF3BFE8D4}" type="presParOf" srcId="{6D45B504-6109-43D6-A831-C56382839E70}" destId="{0633A604-4674-42F0-A062-2CBC6F55DEDD}" srcOrd="2" destOrd="0" presId="urn:microsoft.com/office/officeart/2005/8/layout/pyramid1"/>
    <dgm:cxn modelId="{95D4F2F1-E50F-4DA9-BC38-8BEBC5354C03}" type="presParOf" srcId="{0633A604-4674-42F0-A062-2CBC6F55DEDD}" destId="{C57E8E78-1347-4238-AD93-824FDFB921C5}" srcOrd="0" destOrd="0" presId="urn:microsoft.com/office/officeart/2005/8/layout/pyramid1"/>
    <dgm:cxn modelId="{14955872-642A-4166-B247-7C0AC9D74F49}" type="presParOf" srcId="{0633A604-4674-42F0-A062-2CBC6F55DEDD}" destId="{3D540B2D-35A4-4F6E-A63A-AB15E16BDFF5}" srcOrd="1" destOrd="0" presId="urn:microsoft.com/office/officeart/2005/8/layout/pyramid1"/>
    <dgm:cxn modelId="{33CE4376-4A85-483F-8AFE-58E41C4829B8}" type="presParOf" srcId="{6D45B504-6109-43D6-A831-C56382839E70}" destId="{D21572B4-EECE-4AEB-A742-073524A901BF}" srcOrd="3" destOrd="0" presId="urn:microsoft.com/office/officeart/2005/8/layout/pyramid1"/>
    <dgm:cxn modelId="{9439D47B-950E-4B59-98AF-B20812EA5745}" type="presParOf" srcId="{D21572B4-EECE-4AEB-A742-073524A901BF}" destId="{7359332C-E007-42DF-99AD-5E1C232E488D}" srcOrd="0" destOrd="0" presId="urn:microsoft.com/office/officeart/2005/8/layout/pyramid1"/>
    <dgm:cxn modelId="{2013B2A9-E39A-4703-B139-C6EDFD9DDDB6}" type="presParOf" srcId="{D21572B4-EECE-4AEB-A742-073524A901BF}" destId="{68D429C1-0EEE-45A8-BDDA-10FDABAE3A7E}" srcOrd="1" destOrd="0" presId="urn:microsoft.com/office/officeart/2005/8/layout/pyramid1"/>
    <dgm:cxn modelId="{71813B13-2720-41C8-981C-07DD3B511B0E}" type="presParOf" srcId="{6D45B504-6109-43D6-A831-C56382839E70}" destId="{6E637069-C677-41ED-B67F-DC7D1E06A169}" srcOrd="4" destOrd="0" presId="urn:microsoft.com/office/officeart/2005/8/layout/pyramid1"/>
    <dgm:cxn modelId="{B9FECF4F-CBF0-403D-8AF6-A67DF716B3E7}" type="presParOf" srcId="{6E637069-C677-41ED-B67F-DC7D1E06A169}" destId="{50BCED9E-8F9C-4531-A2D8-EF5D19490D63}" srcOrd="0" destOrd="0" presId="urn:microsoft.com/office/officeart/2005/8/layout/pyramid1"/>
    <dgm:cxn modelId="{DCB88B31-175B-424C-81AD-C3B5504BCE57}" type="presParOf" srcId="{6E637069-C677-41ED-B67F-DC7D1E06A169}" destId="{B8399698-092D-48C6-9353-BDB15EAA613B}"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B204CF-81F3-4392-B833-4FDC4A93DE00}">
      <dsp:nvSpPr>
        <dsp:cNvPr id="0" name=""/>
        <dsp:cNvSpPr/>
      </dsp:nvSpPr>
      <dsp:spPr>
        <a:xfrm>
          <a:off x="2335804" y="0"/>
          <a:ext cx="1167901" cy="852849"/>
        </a:xfrm>
        <a:prstGeom prst="trapezoid">
          <a:avLst>
            <a:gd name="adj" fmla="val 68471"/>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3000" kern="1200"/>
            <a:t>Node</a:t>
          </a:r>
          <a:endParaRPr lang="en-US" sz="3000" kern="1200"/>
        </a:p>
      </dsp:txBody>
      <dsp:txXfrm>
        <a:off x="2335804" y="0"/>
        <a:ext cx="1167901" cy="852849"/>
      </dsp:txXfrm>
    </dsp:sp>
    <dsp:sp modelId="{ADC9741A-D5A3-4821-BAA7-99AD90FEDF22}">
      <dsp:nvSpPr>
        <dsp:cNvPr id="0" name=""/>
        <dsp:cNvSpPr/>
      </dsp:nvSpPr>
      <dsp:spPr>
        <a:xfrm>
          <a:off x="1751853" y="852849"/>
          <a:ext cx="2335803" cy="852849"/>
        </a:xfrm>
        <a:prstGeom prst="trapezoid">
          <a:avLst>
            <a:gd name="adj" fmla="val 68471"/>
          </a:avLst>
        </a:prstGeom>
        <a:solidFill>
          <a:schemeClr val="accent5">
            <a:hueOff val="-1031081"/>
            <a:satOff val="-22784"/>
            <a:lumOff val="950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3000" kern="1200"/>
            <a:t>Location</a:t>
          </a:r>
          <a:endParaRPr lang="en-US" sz="3000" kern="1200"/>
        </a:p>
      </dsp:txBody>
      <dsp:txXfrm>
        <a:off x="2160618" y="852849"/>
        <a:ext cx="1518272" cy="852849"/>
      </dsp:txXfrm>
    </dsp:sp>
    <dsp:sp modelId="{C57E8E78-1347-4238-AD93-824FDFB921C5}">
      <dsp:nvSpPr>
        <dsp:cNvPr id="0" name=""/>
        <dsp:cNvSpPr/>
      </dsp:nvSpPr>
      <dsp:spPr>
        <a:xfrm>
          <a:off x="1167902" y="1705698"/>
          <a:ext cx="3503706" cy="852849"/>
        </a:xfrm>
        <a:prstGeom prst="trapezoid">
          <a:avLst>
            <a:gd name="adj" fmla="val 68471"/>
          </a:avLst>
        </a:prstGeom>
        <a:solidFill>
          <a:schemeClr val="accent5">
            <a:hueOff val="-2062162"/>
            <a:satOff val="-45568"/>
            <a:lumOff val="1901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3000" kern="1200" dirty="0"/>
            <a:t>Environment</a:t>
          </a:r>
        </a:p>
      </dsp:txBody>
      <dsp:txXfrm>
        <a:off x="1781050" y="1705698"/>
        <a:ext cx="2277408" cy="852849"/>
      </dsp:txXfrm>
    </dsp:sp>
    <dsp:sp modelId="{7359332C-E007-42DF-99AD-5E1C232E488D}">
      <dsp:nvSpPr>
        <dsp:cNvPr id="0" name=""/>
        <dsp:cNvSpPr/>
      </dsp:nvSpPr>
      <dsp:spPr>
        <a:xfrm>
          <a:off x="583951" y="2558547"/>
          <a:ext cx="4671607" cy="852849"/>
        </a:xfrm>
        <a:prstGeom prst="trapezoid">
          <a:avLst>
            <a:gd name="adj" fmla="val 68471"/>
          </a:avLst>
        </a:prstGeom>
        <a:solidFill>
          <a:schemeClr val="accent5">
            <a:hueOff val="-3093243"/>
            <a:satOff val="-68353"/>
            <a:lumOff val="2852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3000" kern="1200" dirty="0"/>
            <a:t>Role</a:t>
          </a:r>
        </a:p>
      </dsp:txBody>
      <dsp:txXfrm>
        <a:off x="1401482" y="2558547"/>
        <a:ext cx="3036545" cy="852849"/>
      </dsp:txXfrm>
    </dsp:sp>
    <dsp:sp modelId="{50BCED9E-8F9C-4531-A2D8-EF5D19490D63}">
      <dsp:nvSpPr>
        <dsp:cNvPr id="0" name=""/>
        <dsp:cNvSpPr/>
      </dsp:nvSpPr>
      <dsp:spPr>
        <a:xfrm>
          <a:off x="0" y="3411396"/>
          <a:ext cx="5839510" cy="852849"/>
        </a:xfrm>
        <a:prstGeom prst="trapezoid">
          <a:avLst>
            <a:gd name="adj" fmla="val 68471"/>
          </a:avLst>
        </a:prstGeom>
        <a:solidFill>
          <a:schemeClr val="accent5">
            <a:hueOff val="-4124324"/>
            <a:satOff val="-91137"/>
            <a:lumOff val="3803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3000" kern="1200" dirty="0"/>
            <a:t>Baseline</a:t>
          </a:r>
        </a:p>
      </dsp:txBody>
      <dsp:txXfrm>
        <a:off x="1021914" y="3411396"/>
        <a:ext cx="3795681" cy="852849"/>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23/2022 8:3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23/2022 8:3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powershell/dsc/resources/resources?view=dsc-1.1"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3/2022 8:31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4605628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3/2022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310554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3/2022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4446053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3/2022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3550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3/2022 8:31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516725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3/2022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655346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E6E6E6"/>
                </a:solidFill>
                <a:effectLst/>
                <a:latin typeface="Segoe UI" panose="020B0502040204020203" pitchFamily="34" charset="0"/>
              </a:rPr>
              <a:t>DSC configurations separate intent, or "what I want to do", from execution, or "how I want to do it." This means the logic of execution is contained within the resources. Users do not have to know how to implement or deploy a feature when a DSC resource for that feature is available. This allows the user to focus on the structure of their deployment.</a:t>
            </a:r>
          </a:p>
          <a:p>
            <a:pPr algn="l">
              <a:buFont typeface="Arial" panose="020B0604020202020204" pitchFamily="34" charset="0"/>
              <a:buNone/>
            </a:pPr>
            <a:endParaRPr lang="en-US" b="0" i="0">
              <a:solidFill>
                <a:srgbClr val="E6E6E6"/>
              </a:solidFill>
              <a:effectLst/>
              <a:latin typeface="Segoe UI" panose="020B0502040204020203" pitchFamily="34" charset="0"/>
            </a:endParaRPr>
          </a:p>
          <a:p>
            <a:r>
              <a:rPr lang="en-US"/>
              <a:t> </a:t>
            </a:r>
            <a:r>
              <a:rPr lang="en-US" sz="1800">
                <a:solidFill>
                  <a:srgbClr val="F5F5F5"/>
                </a:solidFill>
                <a:latin typeface="Lucida Console" panose="020B0609040504020204" pitchFamily="49" charset="0"/>
              </a:rPr>
              <a:t>With DSC, configuration is idempotent. This means that if you use DSC to</a:t>
            </a:r>
          </a:p>
          <a:p>
            <a:r>
              <a:rPr lang="en-US" sz="1800">
                <a:solidFill>
                  <a:srgbClr val="F5F5F5"/>
                </a:solidFill>
                <a:latin typeface="Lucida Console" panose="020B0609040504020204" pitchFamily="49" charset="0"/>
              </a:rPr>
              <a:t>enact the same configuration more than once, the resulting configuration</a:t>
            </a:r>
          </a:p>
          <a:p>
            <a:r>
              <a:rPr lang="en-US" sz="1800">
                <a:solidFill>
                  <a:srgbClr val="F5F5F5"/>
                </a:solidFill>
                <a:latin typeface="Lucida Console" panose="020B0609040504020204" pitchFamily="49" charset="0"/>
              </a:rPr>
              <a:t>state will always be the same. Because of this, if you suspect that any</a:t>
            </a:r>
          </a:p>
          <a:p>
            <a:r>
              <a:rPr lang="en-US" sz="1800">
                <a:solidFill>
                  <a:srgbClr val="F5F5F5"/>
                </a:solidFill>
                <a:latin typeface="Lucida Console" panose="020B0609040504020204" pitchFamily="49" charset="0"/>
              </a:rPr>
              <a:t>nodes in your environment may have drifted from the desired state of</a:t>
            </a:r>
          </a:p>
          <a:p>
            <a:r>
              <a:rPr lang="en-US" sz="1800">
                <a:solidFill>
                  <a:srgbClr val="F5F5F5"/>
                </a:solidFill>
                <a:latin typeface="Lucida Console" panose="020B0609040504020204" pitchFamily="49" charset="0"/>
              </a:rPr>
              <a:t>configuration, you can enact the same DSC configuration again to bring them</a:t>
            </a:r>
          </a:p>
          <a:p>
            <a:r>
              <a:rPr lang="en-US" sz="1800">
                <a:solidFill>
                  <a:srgbClr val="F5F5F5"/>
                </a:solidFill>
                <a:latin typeface="Lucida Console" panose="020B0609040504020204" pitchFamily="49" charset="0"/>
              </a:rPr>
              <a:t>back to the desired state. You do not need to modify the configuration</a:t>
            </a:r>
          </a:p>
          <a:p>
            <a:r>
              <a:rPr lang="en-US" sz="1800">
                <a:solidFill>
                  <a:srgbClr val="F5F5F5"/>
                </a:solidFill>
                <a:latin typeface="Lucida Console" panose="020B0609040504020204" pitchFamily="49" charset="0"/>
              </a:rPr>
              <a:t>script to address only those resources whose state has drifted from the</a:t>
            </a:r>
          </a:p>
          <a:p>
            <a:r>
              <a:rPr lang="en-US" sz="1800">
                <a:solidFill>
                  <a:srgbClr val="F5F5F5"/>
                </a:solidFill>
                <a:latin typeface="Lucida Console" panose="020B0609040504020204" pitchFamily="49" charset="0"/>
              </a:rPr>
              <a:t>desired state. </a:t>
            </a:r>
          </a:p>
          <a:p>
            <a:pPr algn="l">
              <a:buFont typeface="Arial" panose="020B0604020202020204" pitchFamily="34" charset="0"/>
              <a:buNone/>
            </a:pPr>
            <a:endParaRPr lang="en-US" b="0" i="0">
              <a:solidFill>
                <a:srgbClr val="E6E6E6"/>
              </a:solidFill>
              <a:effectLst/>
              <a:latin typeface="Segoe UI" panose="020B0502040204020203" pitchFamily="34" charset="0"/>
            </a:endParaRPr>
          </a:p>
        </p:txBody>
      </p:sp>
    </p:spTree>
    <p:extLst>
      <p:ext uri="{BB962C8B-B14F-4D97-AF65-F5344CB8AC3E}">
        <p14:creationId xmlns:p14="http://schemas.microsoft.com/office/powerpoint/2010/main" val="3488190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E6E6E6"/>
                </a:solidFill>
                <a:effectLst/>
                <a:latin typeface="Segoe UI" panose="020B0502040204020203" pitchFamily="34" charset="0"/>
              </a:rPr>
              <a:t>The </a:t>
            </a:r>
            <a:r>
              <a:rPr lang="en-US" b="1" i="0">
                <a:solidFill>
                  <a:srgbClr val="E6E6E6"/>
                </a:solidFill>
                <a:effectLst/>
                <a:latin typeface="Segoe UI" panose="020B0502040204020203" pitchFamily="34" charset="0"/>
              </a:rPr>
              <a:t>New-</a:t>
            </a:r>
            <a:r>
              <a:rPr lang="en-US" b="1" i="0" err="1">
                <a:solidFill>
                  <a:srgbClr val="E6E6E6"/>
                </a:solidFill>
                <a:effectLst/>
                <a:latin typeface="Segoe UI" panose="020B0502040204020203" pitchFamily="34" charset="0"/>
              </a:rPr>
              <a:t>SmbShare</a:t>
            </a:r>
            <a:r>
              <a:rPr lang="en-US" b="0" i="0">
                <a:solidFill>
                  <a:srgbClr val="E6E6E6"/>
                </a:solidFill>
                <a:effectLst/>
                <a:latin typeface="Segoe UI" panose="020B0502040204020203" pitchFamily="34" charset="0"/>
              </a:rPr>
              <a:t> cmdlet will create a new share easily. </a:t>
            </a:r>
          </a:p>
          <a:p>
            <a:pPr algn="l">
              <a:buFont typeface="Arial" panose="020B0604020202020204" pitchFamily="34" charset="0"/>
              <a:buNone/>
            </a:pPr>
            <a:r>
              <a:rPr lang="en-US" b="0" i="0">
                <a:solidFill>
                  <a:srgbClr val="E6E6E6"/>
                </a:solidFill>
                <a:effectLst/>
                <a:latin typeface="Segoe UI" panose="020B0502040204020203" pitchFamily="34" charset="0"/>
              </a:rPr>
              <a:t>However, if you try putting that script into production, you will run into several issues. What happens if that script is run twice in a row? What happens if Bob previously had Full Access to the share?</a:t>
            </a:r>
          </a:p>
          <a:p>
            <a:pPr algn="l">
              <a:buFont typeface="Arial" panose="020B0604020202020204" pitchFamily="34" charset="0"/>
              <a:buNone/>
            </a:pPr>
            <a:r>
              <a:rPr lang="en-US" b="0" i="0">
                <a:solidFill>
                  <a:srgbClr val="E6E6E6"/>
                </a:solidFill>
                <a:effectLst/>
                <a:latin typeface="Segoe UI" panose="020B0502040204020203" pitchFamily="34" charset="0"/>
              </a:rPr>
              <a:t>This script is more complex, with plenty of logic and error handling. The script is more complex because you are no longer stating what you want done, but </a:t>
            </a:r>
            <a:r>
              <a:rPr lang="en-US" b="0" i="1">
                <a:solidFill>
                  <a:srgbClr val="E6E6E6"/>
                </a:solidFill>
                <a:effectLst/>
                <a:latin typeface="Segoe UI" panose="020B0502040204020203" pitchFamily="34" charset="0"/>
              </a:rPr>
              <a:t>how to do it</a:t>
            </a:r>
            <a:r>
              <a:rPr lang="en-US" b="0" i="0">
                <a:solidFill>
                  <a:srgbClr val="E6E6E6"/>
                </a:solidFill>
                <a:effectLst/>
                <a:latin typeface="Segoe UI" panose="020B0502040204020203" pitchFamily="34" charset="0"/>
              </a:rPr>
              <a:t>.</a:t>
            </a:r>
          </a:p>
        </p:txBody>
      </p:sp>
    </p:spTree>
    <p:extLst>
      <p:ext uri="{BB962C8B-B14F-4D97-AF65-F5344CB8AC3E}">
        <p14:creationId xmlns:p14="http://schemas.microsoft.com/office/powerpoint/2010/main" val="996143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E6E6E6"/>
                </a:solidFill>
                <a:effectLst/>
                <a:latin typeface="Segoe UI" panose="020B0502040204020203" pitchFamily="34" charset="0"/>
              </a:rPr>
              <a:t>DSC allows you to say what you want done, and the underlying logic is abstracted away.</a:t>
            </a:r>
          </a:p>
          <a:p>
            <a:pPr algn="l">
              <a:buFont typeface="Arial" panose="020B0604020202020204" pitchFamily="34" charset="0"/>
              <a:buNone/>
            </a:pPr>
            <a:r>
              <a:rPr lang="en-US" b="0" i="0">
                <a:solidFill>
                  <a:srgbClr val="E6E6E6"/>
                </a:solidFill>
                <a:effectLst/>
                <a:latin typeface="Segoe UI" panose="020B0502040204020203" pitchFamily="34" charset="0"/>
              </a:rPr>
              <a:t>This script is cleanly formatted and straightforward to read. The logic paths and error handling are still present in the </a:t>
            </a:r>
            <a:r>
              <a:rPr lang="en-US" b="0" i="0" u="none" strike="noStrike">
                <a:effectLst/>
                <a:latin typeface="Segoe UI" panose="020B0502040204020203" pitchFamily="34" charset="0"/>
                <a:hlinkClick r:id="rId3"/>
              </a:rPr>
              <a:t>resource</a:t>
            </a:r>
            <a:r>
              <a:rPr lang="en-US" b="0" i="0">
                <a:solidFill>
                  <a:srgbClr val="E6E6E6"/>
                </a:solidFill>
                <a:effectLst/>
                <a:latin typeface="Segoe UI" panose="020B0502040204020203" pitchFamily="34" charset="0"/>
              </a:rPr>
              <a:t> implementation, but invisible to the script author.</a:t>
            </a:r>
          </a:p>
          <a:p>
            <a:pPr algn="l">
              <a:buFont typeface="Arial" panose="020B0604020202020204" pitchFamily="34" charset="0"/>
              <a:buNone/>
            </a:pPr>
            <a:endParaRPr lang="en-US" b="0" i="0">
              <a:solidFill>
                <a:srgbClr val="E6E6E6"/>
              </a:solidFill>
              <a:effectLst/>
              <a:latin typeface="Segoe UI" panose="020B0502040204020203" pitchFamily="34" charset="0"/>
            </a:endParaRPr>
          </a:p>
          <a:p>
            <a:r>
              <a:rPr lang="en-US"/>
              <a:t> </a:t>
            </a:r>
            <a:r>
              <a:rPr lang="en-US" sz="1800">
                <a:solidFill>
                  <a:srgbClr val="F5F5F5"/>
                </a:solidFill>
                <a:latin typeface="Lucida Console" panose="020B0609040504020204" pitchFamily="49" charset="0"/>
              </a:rPr>
              <a:t>With DSC, configuration is idempotent. This means that if you use DSC to</a:t>
            </a:r>
          </a:p>
          <a:p>
            <a:r>
              <a:rPr lang="en-US" sz="1800">
                <a:solidFill>
                  <a:srgbClr val="F5F5F5"/>
                </a:solidFill>
                <a:latin typeface="Lucida Console" panose="020B0609040504020204" pitchFamily="49" charset="0"/>
              </a:rPr>
              <a:t>enact the same configuration more than once, the resulting configuration</a:t>
            </a:r>
          </a:p>
          <a:p>
            <a:r>
              <a:rPr lang="en-US" sz="1800">
                <a:solidFill>
                  <a:srgbClr val="F5F5F5"/>
                </a:solidFill>
                <a:latin typeface="Lucida Console" panose="020B0609040504020204" pitchFamily="49" charset="0"/>
              </a:rPr>
              <a:t>state will always be the same. Because of this, if you suspect that any</a:t>
            </a:r>
          </a:p>
          <a:p>
            <a:r>
              <a:rPr lang="en-US" sz="1800">
                <a:solidFill>
                  <a:srgbClr val="F5F5F5"/>
                </a:solidFill>
                <a:latin typeface="Lucida Console" panose="020B0609040504020204" pitchFamily="49" charset="0"/>
              </a:rPr>
              <a:t>nodes in your environment may have drifted from the desired state of</a:t>
            </a:r>
          </a:p>
          <a:p>
            <a:r>
              <a:rPr lang="en-US" sz="1800">
                <a:solidFill>
                  <a:srgbClr val="F5F5F5"/>
                </a:solidFill>
                <a:latin typeface="Lucida Console" panose="020B0609040504020204" pitchFamily="49" charset="0"/>
              </a:rPr>
              <a:t>configuration, you can enact the same DSC configuration again to bring them</a:t>
            </a:r>
          </a:p>
          <a:p>
            <a:r>
              <a:rPr lang="en-US" sz="1800">
                <a:solidFill>
                  <a:srgbClr val="F5F5F5"/>
                </a:solidFill>
                <a:latin typeface="Lucida Console" panose="020B0609040504020204" pitchFamily="49" charset="0"/>
              </a:rPr>
              <a:t>back to the desired state. You do not need to modify the configuration</a:t>
            </a:r>
          </a:p>
          <a:p>
            <a:r>
              <a:rPr lang="en-US" sz="1800">
                <a:solidFill>
                  <a:srgbClr val="F5F5F5"/>
                </a:solidFill>
                <a:latin typeface="Lucida Console" panose="020B0609040504020204" pitchFamily="49" charset="0"/>
              </a:rPr>
              <a:t>script to address only those resources whose state has drifted from the</a:t>
            </a:r>
          </a:p>
          <a:p>
            <a:r>
              <a:rPr lang="en-US" sz="1800">
                <a:solidFill>
                  <a:srgbClr val="F5F5F5"/>
                </a:solidFill>
                <a:latin typeface="Lucida Console" panose="020B0609040504020204" pitchFamily="49" charset="0"/>
              </a:rPr>
              <a:t>desired state. </a:t>
            </a:r>
          </a:p>
          <a:p>
            <a:pPr algn="l">
              <a:buFont typeface="Arial" panose="020B0604020202020204" pitchFamily="34" charset="0"/>
              <a:buNone/>
            </a:pPr>
            <a:endParaRPr lang="en-US" b="0" i="0">
              <a:solidFill>
                <a:srgbClr val="E6E6E6"/>
              </a:solidFill>
              <a:effectLst/>
              <a:latin typeface="Segoe UI" panose="020B0502040204020203" pitchFamily="34" charset="0"/>
            </a:endParaRPr>
          </a:p>
        </p:txBody>
      </p:sp>
    </p:spTree>
    <p:extLst>
      <p:ext uri="{BB962C8B-B14F-4D97-AF65-F5344CB8AC3E}">
        <p14:creationId xmlns:p14="http://schemas.microsoft.com/office/powerpoint/2010/main" val="1364189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Authoring</a:t>
            </a:r>
          </a:p>
          <a:p>
            <a:r>
              <a:rPr lang="en-AU" dirty="0"/>
              <a:t>DSC consumes MOF files.</a:t>
            </a:r>
          </a:p>
          <a:p>
            <a:r>
              <a:rPr lang="en-AU" dirty="0"/>
              <a:t>MOF files can</a:t>
            </a:r>
            <a:r>
              <a:rPr lang="en-AU" baseline="0" dirty="0"/>
              <a:t> be created using any text editor. PowerShell v4 makes it easier to create a MOF file because it has declarative syntax extensions and Intellisense. </a:t>
            </a:r>
            <a:endParaRPr lang="en-AU" dirty="0"/>
          </a:p>
          <a:p>
            <a:endParaRPr lang="en-AU" dirty="0"/>
          </a:p>
          <a:p>
            <a:r>
              <a:rPr lang="en-AU" b="1" dirty="0"/>
              <a:t>Staging</a:t>
            </a:r>
          </a:p>
          <a:p>
            <a:r>
              <a:rPr lang="en-AU" dirty="0"/>
              <a:t>Pull </a:t>
            </a:r>
            <a:r>
              <a:rPr lang="en-AU" dirty="0">
                <a:sym typeface="Wingdings" panose="05000000000000000000" pitchFamily="2" charset="2"/>
              </a:rPr>
              <a:t> DSC Data and custom resources are stored on</a:t>
            </a:r>
            <a:r>
              <a:rPr lang="en-AU" baseline="0" dirty="0">
                <a:sym typeface="Wingdings" panose="05000000000000000000" pitchFamily="2" charset="2"/>
              </a:rPr>
              <a:t> a central IIS web server with a well defined OData interface that functions as the “Pull Server”. Target Nodes connect using a URI and a unique identifier to retrieve its configuration.</a:t>
            </a:r>
          </a:p>
          <a:p>
            <a:endParaRPr lang="en-AU" baseline="0" dirty="0">
              <a:sym typeface="Wingdings" panose="05000000000000000000" pitchFamily="2" charset="2"/>
            </a:endParaRPr>
          </a:p>
          <a:p>
            <a:r>
              <a:rPr lang="en-AU" baseline="0" dirty="0">
                <a:sym typeface="Wingdings" panose="05000000000000000000" pitchFamily="2" charset="2"/>
              </a:rPr>
              <a:t>Push  DSC Data is pushed to the target nodes. Custom resources must exist on the target nodes.</a:t>
            </a:r>
          </a:p>
          <a:p>
            <a:endParaRPr lang="en-AU" dirty="0"/>
          </a:p>
          <a:p>
            <a:r>
              <a:rPr lang="en-AU" b="1" dirty="0"/>
              <a:t>Nodes</a:t>
            </a:r>
          </a:p>
          <a:p>
            <a:r>
              <a:rPr lang="en-AU" dirty="0"/>
              <a:t>DSC data is pulled or pushed to the </a:t>
            </a:r>
            <a:r>
              <a:rPr lang="en-AU" i="1" dirty="0"/>
              <a:t>“Local Configuration Store” </a:t>
            </a:r>
            <a:r>
              <a:rPr lang="en-AU" dirty="0"/>
              <a:t>which contains the current, previous and the DSC. The configuration then gets parsed and the relevant WMI provider implements the change.</a:t>
            </a:r>
            <a:br>
              <a:rPr lang="en-AU" i="1" dirty="0"/>
            </a:br>
            <a:endParaRPr lang="en-AU" b="0" dirty="0"/>
          </a:p>
        </p:txBody>
      </p:sp>
    </p:spTree>
    <p:extLst>
      <p:ext uri="{BB962C8B-B14F-4D97-AF65-F5344CB8AC3E}">
        <p14:creationId xmlns:p14="http://schemas.microsoft.com/office/powerpoint/2010/main" val="3176399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3/2022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170787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3/2022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3210771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19E93-0328-C6F4-6167-FEC62398F7A5}"/>
              </a:ext>
            </a:extLst>
          </p:cNvPr>
          <p:cNvSpPr>
            <a:spLocks noGrp="1"/>
          </p:cNvSpPr>
          <p:nvPr>
            <p:ph type="title"/>
          </p:nvPr>
        </p:nvSpPr>
        <p:spPr/>
        <p:txBody>
          <a:bodyPr/>
          <a:lstStyle/>
          <a:p>
            <a:r>
              <a:rPr lang="en-US"/>
              <a:t>Click to edit Master title style</a:t>
            </a:r>
          </a:p>
        </p:txBody>
      </p:sp>
      <p:pic>
        <p:nvPicPr>
          <p:cNvPr id="3" name="Image 13" descr="Une image contenant texte&#10;&#10;Description générée automatiquement">
            <a:extLst>
              <a:ext uri="{FF2B5EF4-FFF2-40B4-BE49-F238E27FC236}">
                <a16:creationId xmlns:a16="http://schemas.microsoft.com/office/drawing/2014/main" id="{6732FB98-100C-5C41-0DB5-AB3AA37654EF}"/>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1184" y="0"/>
            <a:ext cx="12189631" cy="6858000"/>
          </a:xfrm>
          <a:prstGeom prst="rect">
            <a:avLst/>
          </a:prstGeom>
        </p:spPr>
      </p:pic>
      <p:pic>
        <p:nvPicPr>
          <p:cNvPr id="4" name="Image 13" descr="Une image contenant texte&#10;&#10;Description générée automatiquement">
            <a:extLst>
              <a:ext uri="{FF2B5EF4-FFF2-40B4-BE49-F238E27FC236}">
                <a16:creationId xmlns:a16="http://schemas.microsoft.com/office/drawing/2014/main" id="{F9B01C2D-59AC-0847-2457-337C0B14111F}"/>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1184" y="0"/>
            <a:ext cx="12189631" cy="6858000"/>
          </a:xfrm>
          <a:prstGeom prst="rect">
            <a:avLst/>
          </a:prstGeom>
        </p:spPr>
      </p:pic>
      <p:pic>
        <p:nvPicPr>
          <p:cNvPr id="5" name="Image 2">
            <a:extLst>
              <a:ext uri="{FF2B5EF4-FFF2-40B4-BE49-F238E27FC236}">
                <a16:creationId xmlns:a16="http://schemas.microsoft.com/office/drawing/2014/main" id="{18DF9F88-3A6D-45D0-998B-3B876C1A4E6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10591" y="137310"/>
            <a:ext cx="4166241" cy="1426795"/>
          </a:xfrm>
          <a:prstGeom prst="rect">
            <a:avLst/>
          </a:prstGeom>
        </p:spPr>
      </p:pic>
      <p:pic>
        <p:nvPicPr>
          <p:cNvPr id="6" name="Image 4" descr="Une image contenant texte&#10;&#10;Description générée automatiquement">
            <a:extLst>
              <a:ext uri="{FF2B5EF4-FFF2-40B4-BE49-F238E27FC236}">
                <a16:creationId xmlns:a16="http://schemas.microsoft.com/office/drawing/2014/main" id="{A0905F72-0FDF-1732-B6FE-42E9DB9AD7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9204" y="4917720"/>
            <a:ext cx="2899746" cy="1863291"/>
          </a:xfrm>
          <a:prstGeom prst="rect">
            <a:avLst/>
          </a:prstGeom>
        </p:spPr>
      </p:pic>
    </p:spTree>
    <p:extLst>
      <p:ext uri="{BB962C8B-B14F-4D97-AF65-F5344CB8AC3E}">
        <p14:creationId xmlns:p14="http://schemas.microsoft.com/office/powerpoint/2010/main" val="13744240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19E93-0328-C6F4-6167-FEC62398F7A5}"/>
              </a:ext>
            </a:extLst>
          </p:cNvPr>
          <p:cNvSpPr>
            <a:spLocks noGrp="1"/>
          </p:cNvSpPr>
          <p:nvPr>
            <p:ph type="title"/>
          </p:nvPr>
        </p:nvSpPr>
        <p:spPr/>
        <p:txBody>
          <a:bodyPr/>
          <a:lstStyle/>
          <a:p>
            <a:r>
              <a:rPr lang="en-US"/>
              <a:t>Click to edit Master title style</a:t>
            </a:r>
          </a:p>
        </p:txBody>
      </p:sp>
      <p:pic>
        <p:nvPicPr>
          <p:cNvPr id="3" name="Image 13" descr="Une image contenant texte&#10;&#10;Description générée automatiquement">
            <a:extLst>
              <a:ext uri="{FF2B5EF4-FFF2-40B4-BE49-F238E27FC236}">
                <a16:creationId xmlns:a16="http://schemas.microsoft.com/office/drawing/2014/main" id="{6732FB98-100C-5C41-0DB5-AB3AA37654EF}"/>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1184" y="0"/>
            <a:ext cx="12189631" cy="6858000"/>
          </a:xfrm>
          <a:prstGeom prst="rect">
            <a:avLst/>
          </a:prstGeom>
        </p:spPr>
      </p:pic>
      <p:pic>
        <p:nvPicPr>
          <p:cNvPr id="4" name="Image 13" descr="Une image contenant texte&#10;&#10;Description générée automatiquement">
            <a:extLst>
              <a:ext uri="{FF2B5EF4-FFF2-40B4-BE49-F238E27FC236}">
                <a16:creationId xmlns:a16="http://schemas.microsoft.com/office/drawing/2014/main" id="{F9B01C2D-59AC-0847-2457-337C0B14111F}"/>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1184" y="0"/>
            <a:ext cx="12189631" cy="6858000"/>
          </a:xfrm>
          <a:prstGeom prst="rect">
            <a:avLst/>
          </a:prstGeom>
        </p:spPr>
      </p:pic>
      <p:pic>
        <p:nvPicPr>
          <p:cNvPr id="6" name="Image 4" descr="Une image contenant texte&#10;&#10;Description générée automatiquement">
            <a:extLst>
              <a:ext uri="{FF2B5EF4-FFF2-40B4-BE49-F238E27FC236}">
                <a16:creationId xmlns:a16="http://schemas.microsoft.com/office/drawing/2014/main" id="{A0905F72-0FDF-1732-B6FE-42E9DB9AD74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9204" y="4917720"/>
            <a:ext cx="2899746" cy="1863291"/>
          </a:xfrm>
          <a:prstGeom prst="rect">
            <a:avLst/>
          </a:prstGeom>
        </p:spPr>
      </p:pic>
    </p:spTree>
    <p:extLst>
      <p:ext uri="{BB962C8B-B14F-4D97-AF65-F5344CB8AC3E}">
        <p14:creationId xmlns:p14="http://schemas.microsoft.com/office/powerpoint/2010/main" val="395727796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4959"/>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677384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0"/>
            <a:ext cx="11277600" cy="685800"/>
          </a:xfrm>
          <a:noFill/>
        </p:spPr>
        <p:txBody>
          <a:bodyPr rIns="91440">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406400" y="1143000"/>
            <a:ext cx="11176000" cy="4953000"/>
          </a:xfrm>
          <a:prstGeom prst="rect">
            <a:avLst/>
          </a:prstGeom>
        </p:spPr>
        <p:txBody>
          <a:bodyPr vert="horz" lIns="91440" tIns="45720">
            <a:normAutofit/>
          </a:bodyPr>
          <a:lstStyle>
            <a:lvl1pPr marL="0" indent="0">
              <a:lnSpc>
                <a:spcPct val="100000"/>
              </a:lnSpc>
              <a:spcBef>
                <a:spcPts val="300"/>
              </a:spcBef>
              <a:buFontTx/>
              <a:buNone/>
              <a:defRPr sz="2800" baseline="0">
                <a:solidFill>
                  <a:srgbClr val="3F3F3F"/>
                </a:solidFill>
                <a:latin typeface="Segoe UI Light" pitchFamily="34" charset="0"/>
              </a:defRPr>
            </a:lvl1pPr>
          </a:lstStyle>
          <a:p>
            <a:pPr lvl="0"/>
            <a:r>
              <a:rPr lang="en-US" dirty="0"/>
              <a:t>Click to edit slide content</a:t>
            </a:r>
          </a:p>
        </p:txBody>
      </p:sp>
      <p:sp>
        <p:nvSpPr>
          <p:cNvPr id="7" name="Slide Number Placeholder 3"/>
          <p:cNvSpPr>
            <a:spLocks noGrp="1"/>
          </p:cNvSpPr>
          <p:nvPr>
            <p:ph type="sldNum" sz="quarter" idx="11"/>
          </p:nvPr>
        </p:nvSpPr>
        <p:spPr>
          <a:xfrm>
            <a:off x="9354008" y="6492876"/>
            <a:ext cx="2844800" cy="365125"/>
          </a:xfrm>
        </p:spPr>
        <p:txBody>
          <a:bodyPr/>
          <a:lstStyle>
            <a:lvl1pPr>
              <a:defRPr>
                <a:solidFill>
                  <a:srgbClr val="3F3F3F"/>
                </a:solidFill>
                <a:latin typeface="+mn-lt"/>
              </a:defRPr>
            </a:lvl1pPr>
          </a:lstStyle>
          <a:p>
            <a:fld id="{74A398B2-5A34-1A4A-811E-F4027282568C}" type="slidenum">
              <a:rPr lang="en-US" smtClean="0"/>
              <a:pPr/>
              <a:t>‹#›</a:t>
            </a:fld>
            <a:endParaRPr lang="en-US"/>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800" dirty="0"/>
              <a:t>Microsoft Confidential</a:t>
            </a:r>
          </a:p>
        </p:txBody>
      </p:sp>
    </p:spTree>
    <p:extLst>
      <p:ext uri="{BB962C8B-B14F-4D97-AF65-F5344CB8AC3E}">
        <p14:creationId xmlns:p14="http://schemas.microsoft.com/office/powerpoint/2010/main" val="22557257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07112174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February 11–15, 2019</a:t>
            </a:r>
          </a:p>
          <a:p>
            <a:pPr algn="l"/>
            <a:r>
              <a:rPr lang="en-US" sz="2000" dirty="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s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2410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5562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44C786-AD10-7D88-1933-9D7659D256DF}"/>
              </a:ext>
            </a:extLst>
          </p:cNvPr>
          <p:cNvSpPr>
            <a:spLocks noGrp="1"/>
          </p:cNvSpPr>
          <p:nvPr>
            <p:ph idx="1"/>
          </p:nvPr>
        </p:nvSpPr>
        <p:spPr>
          <a:xfrm>
            <a:off x="3467314" y="1852863"/>
            <a:ext cx="7886486" cy="4324100"/>
          </a:xfrm>
          <a:prstGeom prst="rect">
            <a:avLst/>
          </a:prstGeom>
        </p:spPr>
        <p:txBody>
          <a:bodyPr vert="horz" lIns="91440" tIns="45720" rIns="91440" bIns="45720" rtlCol="0">
            <a:normAutofit/>
          </a:bodyPr>
          <a:lstStyle/>
          <a:p>
            <a:pPr lvl="0"/>
            <a:r>
              <a:rPr lang="en-US"/>
              <a:t>Your bio</a:t>
            </a:r>
            <a:endParaRPr lang="en-GB"/>
          </a:p>
        </p:txBody>
      </p:sp>
      <p:sp>
        <p:nvSpPr>
          <p:cNvPr id="4" name="Title Placeholder 1">
            <a:extLst>
              <a:ext uri="{FF2B5EF4-FFF2-40B4-BE49-F238E27FC236}">
                <a16:creationId xmlns:a16="http://schemas.microsoft.com/office/drawing/2014/main" id="{1BA7B894-6BCA-2B29-BA04-8AAB1735BFFD}"/>
              </a:ext>
            </a:extLst>
          </p:cNvPr>
          <p:cNvSpPr>
            <a:spLocks noGrp="1"/>
          </p:cNvSpPr>
          <p:nvPr>
            <p:ph type="title"/>
          </p:nvPr>
        </p:nvSpPr>
        <p:spPr>
          <a:xfrm>
            <a:off x="3467313" y="324853"/>
            <a:ext cx="7886485" cy="1325563"/>
          </a:xfrm>
          <a:prstGeom prst="rect">
            <a:avLst/>
          </a:prstGeom>
        </p:spPr>
        <p:txBody>
          <a:bodyPr vert="horz" lIns="91440" tIns="45720" rIns="91440" bIns="45720" rtlCol="0" anchor="ctr">
            <a:normAutofit/>
          </a:bodyPr>
          <a:lstStyle/>
          <a:p>
            <a:r>
              <a:rPr lang="en-US"/>
              <a:t>Speaker’s name</a:t>
            </a:r>
            <a:endParaRPr lang="en-GB"/>
          </a:p>
        </p:txBody>
      </p:sp>
    </p:spTree>
    <p:extLst>
      <p:ext uri="{BB962C8B-B14F-4D97-AF65-F5344CB8AC3E}">
        <p14:creationId xmlns:p14="http://schemas.microsoft.com/office/powerpoint/2010/main" val="29420979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93987-4D9C-734A-F0DD-FA7C5E5BFDF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8C8F2A-06F7-926F-11A3-0E18B5E012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81521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February 11–15, 2019</a:t>
            </a:r>
          </a:p>
          <a:p>
            <a:pPr algn="l"/>
            <a:r>
              <a:rPr lang="en-US" sz="2000" dirty="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230772"/>
            <a:ext cx="11018520" cy="553998"/>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8263" y="937981"/>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5"/>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60" r:id="rId1"/>
    <p:sldLayoutId id="2147484661" r:id="rId2"/>
    <p:sldLayoutId id="2147484648" r:id="rId3"/>
    <p:sldLayoutId id="2147484649" r:id="rId4"/>
    <p:sldLayoutId id="2147484610" r:id="rId5"/>
    <p:sldLayoutId id="2147484240" r:id="rId6"/>
    <p:sldLayoutId id="2147484241" r:id="rId7"/>
    <p:sldLayoutId id="2147484474" r:id="rId8"/>
    <p:sldLayoutId id="2147484245" r:id="rId9"/>
    <p:sldLayoutId id="2147484247" r:id="rId10"/>
    <p:sldLayoutId id="2147484652" r:id="rId11"/>
    <p:sldLayoutId id="2147484639" r:id="rId12"/>
    <p:sldLayoutId id="2147484603" r:id="rId13"/>
    <p:sldLayoutId id="2147484645" r:id="rId14"/>
    <p:sldLayoutId id="2147484646" r:id="rId15"/>
    <p:sldLayoutId id="2147484647" r:id="rId16"/>
    <p:sldLayoutId id="2147484249" r:id="rId17"/>
    <p:sldLayoutId id="2147484582" r:id="rId18"/>
    <p:sldLayoutId id="2147484584" r:id="rId19"/>
    <p:sldLayoutId id="2147484583" r:id="rId20"/>
    <p:sldLayoutId id="2147484256" r:id="rId21"/>
    <p:sldLayoutId id="2147484257" r:id="rId22"/>
    <p:sldLayoutId id="2147484651" r:id="rId23"/>
    <p:sldLayoutId id="2147484585" r:id="rId24"/>
    <p:sldLayoutId id="2147484299" r:id="rId25"/>
    <p:sldLayoutId id="2147484263" r:id="rId26"/>
    <p:sldLayoutId id="2147484653" r:id="rId27"/>
    <p:sldLayoutId id="2147484654" r:id="rId28"/>
    <p:sldLayoutId id="2147484655" r:id="rId29"/>
    <p:sldLayoutId id="2147484656" r:id="rId30"/>
    <p:sldLayoutId id="2147484657" r:id="rId31"/>
    <p:sldLayoutId id="2147484658" r:id="rId32"/>
    <p:sldLayoutId id="2147484659"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image" Target="../media/image19.wmf"/><Relationship Id="rId7" Type="http://schemas.openxmlformats.org/officeDocument/2006/relationships/image" Target="../media/image21.wmf"/><Relationship Id="rId2" Type="http://schemas.openxmlformats.org/officeDocument/2006/relationships/oleObject" Target="../embeddings/oleObject1.bin"/><Relationship Id="rId1" Type="http://schemas.openxmlformats.org/officeDocument/2006/relationships/slideLayout" Target="../slideLayouts/slideLayout6.xml"/><Relationship Id="rId6" Type="http://schemas.openxmlformats.org/officeDocument/2006/relationships/oleObject" Target="../embeddings/oleObject3.bin"/><Relationship Id="rId5" Type="http://schemas.openxmlformats.org/officeDocument/2006/relationships/image" Target="../media/image20.wmf"/><Relationship Id="rId4" Type="http://schemas.openxmlformats.org/officeDocument/2006/relationships/oleObject" Target="../embeddings/oleObject2.bin"/><Relationship Id="rId9" Type="http://schemas.openxmlformats.org/officeDocument/2006/relationships/image" Target="../media/image22.w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image" Target="../media/image26.svg"/><Relationship Id="rId5" Type="http://schemas.openxmlformats.org/officeDocument/2006/relationships/diagramQuickStyle" Target="../diagrams/quickStyle1.xml"/><Relationship Id="rId10" Type="http://schemas.openxmlformats.org/officeDocument/2006/relationships/image" Target="../media/image25.png"/><Relationship Id="rId4" Type="http://schemas.openxmlformats.org/officeDocument/2006/relationships/diagramLayout" Target="../diagrams/layout1.xml"/><Relationship Id="rId9" Type="http://schemas.openxmlformats.org/officeDocument/2006/relationships/image" Target="../media/image24.svg"/></Relationships>
</file>

<file path=ppt/slides/_rels/slide19.xml.rels><?xml version="1.0" encoding="UTF-8" standalone="yes"?>
<Relationships xmlns="http://schemas.openxmlformats.org/package/2006/relationships"><Relationship Id="rId3" Type="http://schemas.openxmlformats.org/officeDocument/2006/relationships/hyperlink" Target="https://puppet.com/docs/pe/2017.2/r_n_p_intro.htm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hyperlink" Target="https://www.craigdunn.org/2012/05/239/"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6.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6.xml"/><Relationship Id="rId5" Type="http://schemas.openxmlformats.org/officeDocument/2006/relationships/image" Target="../media/image33.emf"/><Relationship Id="rId4" Type="http://schemas.openxmlformats.org/officeDocument/2006/relationships/image" Target="../media/image32.emf"/></Relationships>
</file>

<file path=ppt/slides/_rels/slide2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6.xml"/><Relationship Id="rId6" Type="http://schemas.openxmlformats.org/officeDocument/2006/relationships/image" Target="../media/image35.emf"/><Relationship Id="rId5" Type="http://schemas.openxmlformats.org/officeDocument/2006/relationships/image" Target="../media/image33.emf"/><Relationship Id="rId4" Type="http://schemas.openxmlformats.org/officeDocument/2006/relationships/image" Target="../media/image32.emf"/></Relationships>
</file>

<file path=ppt/slides/_rels/slide2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6.xml"/><Relationship Id="rId4" Type="http://schemas.openxmlformats.org/officeDocument/2006/relationships/image" Target="../media/image38.emf"/></Relationships>
</file>

<file path=ppt/slides/_rels/slide2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emf"/><Relationship Id="rId1" Type="http://schemas.openxmlformats.org/officeDocument/2006/relationships/slideLayout" Target="../slideLayouts/slideLayout6.xml"/><Relationship Id="rId4" Type="http://schemas.openxmlformats.org/officeDocument/2006/relationships/image" Target="../media/image42.emf"/></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raandree"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Layout" Target="../slideLayouts/slideLayout6.xml"/><Relationship Id="rId5" Type="http://schemas.openxmlformats.org/officeDocument/2006/relationships/image" Target="../media/image42.emf"/><Relationship Id="rId4" Type="http://schemas.openxmlformats.org/officeDocument/2006/relationships/image" Target="../media/image41.emf"/></Relationships>
</file>

<file path=ppt/slides/_rels/slide3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gaelcolas/Datum" TargetMode="External"/><Relationship Id="rId2" Type="http://schemas.openxmlformats.org/officeDocument/2006/relationships/hyperlink" Target="https://dsccommunity.org/" TargetMode="External"/><Relationship Id="rId1" Type="http://schemas.openxmlformats.org/officeDocument/2006/relationships/slideLayout" Target="../slideLayouts/slideLayout6.xml"/><Relationship Id="rId6" Type="http://schemas.openxmlformats.org/officeDocument/2006/relationships/hyperlink" Target="https://automatedlab.org/en/latest/" TargetMode="External"/><Relationship Id="rId5" Type="http://schemas.openxmlformats.org/officeDocument/2006/relationships/hyperlink" Target="https://github.com/raandree/DscConfig.Demo" TargetMode="External"/><Relationship Id="rId4" Type="http://schemas.openxmlformats.org/officeDocument/2006/relationships/hyperlink" Target="https://github.com/dsccommunity/DscWorkshop/" TargetMode="External"/></Relationships>
</file>

<file path=ppt/slides/_rels/slide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ype="http://schemas.openxmlformats.org/officeDocument/2006/relationships/hyperlink" Target="http://aka.ms/trpm" TargetMode="External"/><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hyperlink" Target="https://www.techtarget.com/searchwindowsserver/definition/Microsoft-Windows-PowerShell-DSC-Desired-State-Configuration#:~:text=Desired%20State%20Configuration%20(DSC)%20is,a%20process%20called%20declarative%20scripting."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hyperlink" Target="https://www.techtarget.com/searchwindowsserver/definition/configuration-drift" TargetMode="External"/><Relationship Id="rId5" Type="http://schemas.openxmlformats.org/officeDocument/2006/relationships/hyperlink" Target="https://www.techtarget.com/whatis/definition/operating-system-OS" TargetMode="External"/><Relationship Id="rId4" Type="http://schemas.openxmlformats.org/officeDocument/2006/relationships/hyperlink" Target="https://www.techtarget.com/searchwindowsserver/definition/PowerShell"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2C3F19-9F6F-1450-84BC-A80357F35940}"/>
              </a:ext>
            </a:extLst>
          </p:cNvPr>
          <p:cNvSpPr txBox="1">
            <a:spLocks/>
          </p:cNvSpPr>
          <p:nvPr/>
        </p:nvSpPr>
        <p:spPr>
          <a:xfrm>
            <a:off x="838200" y="2055326"/>
            <a:ext cx="10515600" cy="1936944"/>
          </a:xfrm>
          <a:prstGeom prst="rect">
            <a:avLst/>
          </a:prstGeom>
        </p:spPr>
        <p:txBody>
          <a:bodyPr anchor="b">
            <a:normAutofit/>
          </a:bodyPr>
          <a:lstStyle>
            <a:lvl1pPr algn="ctr" defTabSz="914400" rtl="0" eaLnBrk="1" latinLnBrk="0" hangingPunct="1">
              <a:lnSpc>
                <a:spcPct val="90000"/>
              </a:lnSpc>
              <a:spcBef>
                <a:spcPct val="0"/>
              </a:spcBef>
              <a:buNone/>
              <a:defRPr sz="4400" b="1" kern="1200">
                <a:solidFill>
                  <a:srgbClr val="346296"/>
                </a:solidFill>
                <a:latin typeface="+mn-lt"/>
                <a:ea typeface="+mj-ea"/>
                <a:cs typeface="+mj-cs"/>
              </a:defRPr>
            </a:lvl1pPr>
          </a:lstStyle>
          <a:p>
            <a:r>
              <a:rPr lang="en-US" sz="4800" b="1" dirty="0"/>
              <a:t>The DSC project blueprint or how to start a DSC project the right way</a:t>
            </a:r>
            <a:endParaRPr lang="en-GB" sz="6000" dirty="0"/>
          </a:p>
        </p:txBody>
      </p:sp>
      <p:sp>
        <p:nvSpPr>
          <p:cNvPr id="3" name="Sous-titre 2">
            <a:extLst>
              <a:ext uri="{FF2B5EF4-FFF2-40B4-BE49-F238E27FC236}">
                <a16:creationId xmlns:a16="http://schemas.microsoft.com/office/drawing/2014/main" id="{FB22B504-146E-1966-17CE-BB797BC6083D}"/>
              </a:ext>
            </a:extLst>
          </p:cNvPr>
          <p:cNvSpPr txBox="1">
            <a:spLocks/>
          </p:cNvSpPr>
          <p:nvPr/>
        </p:nvSpPr>
        <p:spPr>
          <a:xfrm>
            <a:off x="1524000" y="4271395"/>
            <a:ext cx="9144000" cy="631759"/>
          </a:xfrm>
          <a:prstGeom prst="rect">
            <a:avLst/>
          </a:prstGeom>
        </p:spPr>
        <p:txBody>
          <a:bodyPr>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4400" kern="1200">
                <a:solidFill>
                  <a:srgbClr val="3B2B46"/>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r-FR" b="1" i="1" dirty="0"/>
              <a:t>Raimund Andree</a:t>
            </a:r>
            <a:endParaRPr lang="en-GB" b="1" i="1" dirty="0"/>
          </a:p>
        </p:txBody>
      </p:sp>
      <p:cxnSp>
        <p:nvCxnSpPr>
          <p:cNvPr id="6" name="Connecteur droit 5">
            <a:extLst>
              <a:ext uri="{FF2B5EF4-FFF2-40B4-BE49-F238E27FC236}">
                <a16:creationId xmlns:a16="http://schemas.microsoft.com/office/drawing/2014/main" id="{A169C0FB-08C4-E3EC-573C-91852880EBAA}"/>
              </a:ext>
            </a:extLst>
          </p:cNvPr>
          <p:cNvCxnSpPr/>
          <p:nvPr/>
        </p:nvCxnSpPr>
        <p:spPr>
          <a:xfrm>
            <a:off x="3867150" y="4089400"/>
            <a:ext cx="4508500" cy="0"/>
          </a:xfrm>
          <a:prstGeom prst="line">
            <a:avLst/>
          </a:prstGeom>
          <a:ln>
            <a:solidFill>
              <a:srgbClr val="3B2B4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000416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wershell Script (Idempotent Example)</a:t>
            </a:r>
          </a:p>
        </p:txBody>
      </p:sp>
      <p:sp>
        <p:nvSpPr>
          <p:cNvPr id="3" name="Rectangle 2">
            <a:extLst>
              <a:ext uri="{FF2B5EF4-FFF2-40B4-BE49-F238E27FC236}">
                <a16:creationId xmlns:a16="http://schemas.microsoft.com/office/drawing/2014/main" id="{DE0BDC3C-68E8-4258-94F6-8D2BDA835099}"/>
              </a:ext>
            </a:extLst>
          </p:cNvPr>
          <p:cNvSpPr/>
          <p:nvPr/>
        </p:nvSpPr>
        <p:spPr>
          <a:xfrm>
            <a:off x="588263" y="1093939"/>
            <a:ext cx="9723389" cy="5170646"/>
          </a:xfrm>
          <a:prstGeom prst="rect">
            <a:avLst/>
          </a:prstGeom>
        </p:spPr>
        <p:txBody>
          <a:bodyPr wrap="square">
            <a:spAutoFit/>
          </a:bodyPr>
          <a:lstStyle/>
          <a:p>
            <a:r>
              <a:rPr lang="en-US" sz="2400" dirty="0"/>
              <a:t> </a:t>
            </a:r>
            <a:r>
              <a:rPr lang="en-US" sz="1800" dirty="0">
                <a:solidFill>
                  <a:srgbClr val="006400"/>
                </a:solidFill>
                <a:latin typeface="Lucida Console" panose="020B0609040504020204" pitchFamily="49" charset="0"/>
              </a:rPr>
              <a:t># Creating a share in an idempotent way would be</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hareExist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false</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mbShar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Get-</a:t>
            </a:r>
            <a:r>
              <a:rPr lang="en-US" sz="1800" dirty="0" err="1">
                <a:solidFill>
                  <a:srgbClr val="0000FF"/>
                </a:solidFill>
                <a:latin typeface="Lucida Console" panose="020B0609040504020204" pitchFamily="49" charset="0"/>
              </a:rPr>
              <a:t>SmbShare</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Name</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Name</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ErrorAction</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SilentlyContinue</a:t>
            </a:r>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if</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mbShar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ne</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null</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Verbose</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Message</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Share with name </a:t>
            </a:r>
            <a:r>
              <a:rPr lang="en-US" sz="1800" dirty="0">
                <a:solidFill>
                  <a:srgbClr val="A82D00"/>
                </a:solidFill>
                <a:latin typeface="Lucida Console" panose="020B0609040504020204" pitchFamily="49" charset="0"/>
              </a:rPr>
              <a:t>$Name</a:t>
            </a:r>
            <a:r>
              <a:rPr lang="en-US" sz="1800" dirty="0">
                <a:solidFill>
                  <a:srgbClr val="8B0000"/>
                </a:solidFill>
                <a:latin typeface="Lucida Console" panose="020B0609040504020204" pitchFamily="49" charset="0"/>
              </a:rPr>
              <a:t> exists"</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hareExist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tru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if</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hareExist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eq</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false</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Verbose</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Creating share </a:t>
            </a:r>
            <a:r>
              <a:rPr lang="en-US" sz="1800" dirty="0">
                <a:solidFill>
                  <a:srgbClr val="A82D00"/>
                </a:solidFill>
                <a:latin typeface="Lucida Console" panose="020B0609040504020204" pitchFamily="49" charset="0"/>
              </a:rPr>
              <a:t>$Name</a:t>
            </a:r>
            <a:r>
              <a:rPr lang="en-US" sz="1800" dirty="0">
                <a:solidFill>
                  <a:srgbClr val="8B0000"/>
                </a:solidFill>
                <a:latin typeface="Lucida Console" panose="020B0609040504020204" pitchFamily="49" charset="0"/>
              </a:rPr>
              <a:t> to ensure it is Presen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New-</a:t>
            </a:r>
            <a:r>
              <a:rPr lang="en-US" sz="1800" dirty="0" err="1">
                <a:solidFill>
                  <a:srgbClr val="0000FF"/>
                </a:solidFill>
                <a:latin typeface="Lucida Console" panose="020B0609040504020204" pitchFamily="49" charset="0"/>
              </a:rPr>
              <a:t>SmbShare</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PSBoundParameters</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srgbClr val="00008B"/>
                </a:solidFill>
                <a:latin typeface="Lucida Console" panose="020B0609040504020204" pitchFamily="49" charset="0"/>
              </a:rPr>
              <a:t>else</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 Need to call either Set-</a:t>
            </a:r>
            <a:r>
              <a:rPr lang="en-US" sz="1800" dirty="0" err="1">
                <a:solidFill>
                  <a:srgbClr val="006400"/>
                </a:solidFill>
                <a:latin typeface="Lucida Console" panose="020B0609040504020204" pitchFamily="49" charset="0"/>
              </a:rPr>
              <a:t>SmbShare</a:t>
            </a:r>
            <a:r>
              <a:rPr lang="en-US" sz="1800" dirty="0">
                <a:solidFill>
                  <a:srgbClr val="006400"/>
                </a:solidFill>
                <a:latin typeface="Lucida Console" panose="020B0609040504020204" pitchFamily="49" charset="0"/>
              </a:rPr>
              <a:t> or *</a:t>
            </a:r>
            <a:r>
              <a:rPr lang="en-US" sz="1800" dirty="0" err="1">
                <a:solidFill>
                  <a:srgbClr val="006400"/>
                </a:solidFill>
                <a:latin typeface="Lucida Console" panose="020B0609040504020204" pitchFamily="49" charset="0"/>
              </a:rPr>
              <a:t>ShareAccess</a:t>
            </a:r>
            <a:r>
              <a:rPr lang="en-US" sz="1800" dirty="0">
                <a:solidFill>
                  <a:srgbClr val="006400"/>
                </a:solidFill>
                <a:latin typeface="Lucida Console" panose="020B0609040504020204" pitchFamily="49" charset="0"/>
              </a:rPr>
              <a:t> cmdlets</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8B"/>
                </a:solidFill>
                <a:latin typeface="Lucida Console" panose="020B0609040504020204" pitchFamily="49" charset="0"/>
              </a:rPr>
              <a:t>if</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PSBoundParameters</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ContainsKey</a:t>
            </a:r>
            <a:r>
              <a:rPr lang="en-US" sz="1800" dirty="0">
                <a:solidFill>
                  <a:prstClr val="black"/>
                </a:solidFill>
                <a:latin typeface="Lucida Console" panose="020B0609040504020204" pitchFamily="49" charset="0"/>
              </a:rPr>
              <a:t>(</a:t>
            </a:r>
            <a:r>
              <a:rPr lang="en-US" sz="1800" dirty="0">
                <a:solidFill>
                  <a:srgbClr val="8B0000"/>
                </a:solidFill>
                <a:latin typeface="Lucida Console" panose="020B0609040504020204" pitchFamily="49" charset="0"/>
              </a:rPr>
              <a:t>"</a:t>
            </a:r>
            <a:r>
              <a:rPr lang="en-US" sz="1800" dirty="0" err="1">
                <a:solidFill>
                  <a:srgbClr val="8B0000"/>
                </a:solidFill>
                <a:latin typeface="Lucida Console" panose="020B0609040504020204" pitchFamily="49" charset="0"/>
              </a:rPr>
              <a:t>ChangeAccess</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etc, </a:t>
            </a:r>
            <a:r>
              <a:rPr lang="en-US" sz="1800" dirty="0" err="1">
                <a:solidFill>
                  <a:srgbClr val="006400"/>
                </a:solidFill>
                <a:latin typeface="Lucida Console" panose="020B0609040504020204" pitchFamily="49" charset="0"/>
              </a:rPr>
              <a:t>etc</a:t>
            </a:r>
            <a:r>
              <a:rPr lang="en-US" sz="1800" dirty="0">
                <a:solidFill>
                  <a:srgbClr val="006400"/>
                </a:solidFill>
                <a:latin typeface="Lucida Console" panose="020B0609040504020204" pitchFamily="49" charset="0"/>
              </a:rPr>
              <a:t>, </a:t>
            </a:r>
            <a:r>
              <a:rPr lang="en-US" sz="1800" dirty="0" err="1">
                <a:solidFill>
                  <a:srgbClr val="006400"/>
                </a:solidFill>
                <a:latin typeface="Lucida Console" panose="020B0609040504020204" pitchFamily="49" charset="0"/>
              </a:rPr>
              <a:t>etc</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2113178430"/>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sired State Configuration Script (Example)</a:t>
            </a:r>
          </a:p>
        </p:txBody>
      </p:sp>
      <p:sp>
        <p:nvSpPr>
          <p:cNvPr id="3" name="Rectangle 2">
            <a:extLst>
              <a:ext uri="{FF2B5EF4-FFF2-40B4-BE49-F238E27FC236}">
                <a16:creationId xmlns:a16="http://schemas.microsoft.com/office/drawing/2014/main" id="{DE0BDC3C-68E8-4258-94F6-8D2BDA835099}"/>
              </a:ext>
            </a:extLst>
          </p:cNvPr>
          <p:cNvSpPr/>
          <p:nvPr/>
        </p:nvSpPr>
        <p:spPr>
          <a:xfrm>
            <a:off x="588263" y="988896"/>
            <a:ext cx="9723389" cy="5724644"/>
          </a:xfrm>
          <a:prstGeom prst="rect">
            <a:avLst/>
          </a:prstGeom>
        </p:spPr>
        <p:txBody>
          <a:bodyPr wrap="square">
            <a:spAutoFit/>
          </a:bodyPr>
          <a:lstStyle/>
          <a:p>
            <a:r>
              <a:rPr lang="en-US" sz="2400" dirty="0"/>
              <a:t> </a:t>
            </a:r>
            <a:r>
              <a:rPr lang="en-US" sz="1800" dirty="0">
                <a:solidFill>
                  <a:srgbClr val="006400"/>
                </a:solidFill>
                <a:latin typeface="Lucida Console" panose="020B0609040504020204" pitchFamily="49" charset="0"/>
              </a:rPr>
              <a:t># A configuration is a special kind of PowerShell function</a:t>
            </a:r>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Configuration</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Sample_Shar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Import-</a:t>
            </a:r>
            <a:r>
              <a:rPr lang="en-US" sz="1800" dirty="0" err="1">
                <a:solidFill>
                  <a:srgbClr val="0000FF"/>
                </a:solidFill>
                <a:latin typeface="Lucida Console" panose="020B0609040504020204" pitchFamily="49" charset="0"/>
              </a:rPr>
              <a:t>DscResource</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Module</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xSmbShar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 Nodes are the endpoint we wish to configure</a:t>
            </a:r>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   Node</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odeNam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 Next, specify one or more resource blocks</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 Resources are simply PowerShell modules th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 implement the logic of "how" to execute a task</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err="1">
                <a:solidFill>
                  <a:srgbClr val="0000FF"/>
                </a:solidFill>
                <a:latin typeface="Lucida Console" panose="020B0609040504020204" pitchFamily="49" charset="0"/>
              </a:rPr>
              <a:t>xSmbShare</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MySMBShar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Ensure</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Presen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Name</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err="1">
                <a:solidFill>
                  <a:srgbClr val="8B0000"/>
                </a:solidFill>
                <a:latin typeface="Lucida Console" panose="020B0609040504020204" pitchFamily="49" charset="0"/>
              </a:rPr>
              <a:t>MyShare</a:t>
            </a:r>
            <a:r>
              <a:rPr lang="en-US" sz="1800" dirty="0">
                <a:solidFill>
                  <a:srgbClr val="8B0000"/>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Path</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C:\Demo\Temp"</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err="1">
                <a:solidFill>
                  <a:srgbClr val="0000FF"/>
                </a:solidFill>
                <a:latin typeface="Lucida Console" panose="020B0609040504020204" pitchFamily="49" charset="0"/>
              </a:rPr>
              <a:t>ReadAccess</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Bob"</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err="1">
                <a:solidFill>
                  <a:srgbClr val="0000FF"/>
                </a:solidFill>
                <a:latin typeface="Lucida Console" panose="020B0609040504020204" pitchFamily="49" charset="0"/>
              </a:rPr>
              <a:t>FullAccess</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lic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2459403810"/>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ush / Pull</a:t>
            </a:r>
          </a:p>
        </p:txBody>
      </p:sp>
      <p:sp>
        <p:nvSpPr>
          <p:cNvPr id="43" name="Rectangle 42">
            <a:extLst>
              <a:ext uri="{FF2B5EF4-FFF2-40B4-BE49-F238E27FC236}">
                <a16:creationId xmlns:a16="http://schemas.microsoft.com/office/drawing/2014/main" id="{AF3ED692-B71F-4F1D-98A9-018B06584A7F}"/>
              </a:ext>
            </a:extLst>
          </p:cNvPr>
          <p:cNvSpPr/>
          <p:nvPr/>
        </p:nvSpPr>
        <p:spPr>
          <a:xfrm>
            <a:off x="407368" y="1124744"/>
            <a:ext cx="11305256" cy="536813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prstClr val="white"/>
              </a:solidFill>
            </a:endParaRPr>
          </a:p>
        </p:txBody>
      </p:sp>
      <p:sp>
        <p:nvSpPr>
          <p:cNvPr id="50" name="TextBox 49">
            <a:extLst>
              <a:ext uri="{FF2B5EF4-FFF2-40B4-BE49-F238E27FC236}">
                <a16:creationId xmlns:a16="http://schemas.microsoft.com/office/drawing/2014/main" id="{6608A0D8-8A1D-447D-9B63-E9583B77B59B}"/>
              </a:ext>
            </a:extLst>
          </p:cNvPr>
          <p:cNvSpPr txBox="1"/>
          <p:nvPr/>
        </p:nvSpPr>
        <p:spPr>
          <a:xfrm>
            <a:off x="659376" y="1181974"/>
            <a:ext cx="1475084"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Authoring</a:t>
            </a:r>
          </a:p>
        </p:txBody>
      </p:sp>
      <p:sp>
        <p:nvSpPr>
          <p:cNvPr id="60" name="TextBox 59">
            <a:extLst>
              <a:ext uri="{FF2B5EF4-FFF2-40B4-BE49-F238E27FC236}">
                <a16:creationId xmlns:a16="http://schemas.microsoft.com/office/drawing/2014/main" id="{589A0DBF-6D62-4824-913C-75D1D1B667DF}"/>
              </a:ext>
            </a:extLst>
          </p:cNvPr>
          <p:cNvSpPr txBox="1"/>
          <p:nvPr/>
        </p:nvSpPr>
        <p:spPr>
          <a:xfrm>
            <a:off x="5518759" y="1181974"/>
            <a:ext cx="1154483"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Staging</a:t>
            </a:r>
          </a:p>
        </p:txBody>
      </p:sp>
      <p:sp>
        <p:nvSpPr>
          <p:cNvPr id="62" name="TextBox 61">
            <a:extLst>
              <a:ext uri="{FF2B5EF4-FFF2-40B4-BE49-F238E27FC236}">
                <a16:creationId xmlns:a16="http://schemas.microsoft.com/office/drawing/2014/main" id="{BEE62D44-1B6A-449E-9A04-5D373B9E16B4}"/>
              </a:ext>
            </a:extLst>
          </p:cNvPr>
          <p:cNvSpPr txBox="1"/>
          <p:nvPr/>
        </p:nvSpPr>
        <p:spPr>
          <a:xfrm>
            <a:off x="10122324" y="1186442"/>
            <a:ext cx="1024639"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Nodes</a:t>
            </a:r>
          </a:p>
        </p:txBody>
      </p:sp>
      <p:pic>
        <p:nvPicPr>
          <p:cNvPr id="72" name="Picture 3" descr="\\MAGNUM\Projects\Microsoft\Cloud Power FY12\Design\ICONS_PNG\Laptop.png">
            <a:extLst>
              <a:ext uri="{FF2B5EF4-FFF2-40B4-BE49-F238E27FC236}">
                <a16:creationId xmlns:a16="http://schemas.microsoft.com/office/drawing/2014/main" id="{538BA146-7460-40D6-AC55-D9A11FE48399}"/>
              </a:ext>
            </a:extLst>
          </p:cNvPr>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564083" y="1562974"/>
            <a:ext cx="1527751" cy="1527751"/>
          </a:xfrm>
          <a:prstGeom prst="rect">
            <a:avLst/>
          </a:prstGeom>
          <a:noFill/>
        </p:spPr>
      </p:pic>
      <p:grpSp>
        <p:nvGrpSpPr>
          <p:cNvPr id="77" name="Group 76">
            <a:extLst>
              <a:ext uri="{FF2B5EF4-FFF2-40B4-BE49-F238E27FC236}">
                <a16:creationId xmlns:a16="http://schemas.microsoft.com/office/drawing/2014/main" id="{086FB05D-9E5C-4C9A-ACC3-BE09BAEB56A6}"/>
              </a:ext>
            </a:extLst>
          </p:cNvPr>
          <p:cNvGrpSpPr/>
          <p:nvPr/>
        </p:nvGrpSpPr>
        <p:grpSpPr>
          <a:xfrm>
            <a:off x="505305" y="3084477"/>
            <a:ext cx="1792850" cy="1149875"/>
            <a:chOff x="917949" y="3040063"/>
            <a:chExt cx="1828800" cy="1172932"/>
          </a:xfrm>
        </p:grpSpPr>
        <p:pic>
          <p:nvPicPr>
            <p:cNvPr id="78" name="Picture 77" descr="\\MAGNUM\Projects\Microsoft\Cloud Power FY12\Design\ICONS_PNG\Document.png">
              <a:extLst>
                <a:ext uri="{FF2B5EF4-FFF2-40B4-BE49-F238E27FC236}">
                  <a16:creationId xmlns:a16="http://schemas.microsoft.com/office/drawing/2014/main" id="{7C394244-2395-40C4-B3FA-59F848493BB7}"/>
                </a:ext>
              </a:extLst>
            </p:cNvPr>
            <p:cNvPicPr>
              <a:picLocks noChangeAspect="1" noChangeArrowheads="1"/>
            </p:cNvPicPr>
            <p:nvPr/>
          </p:nvPicPr>
          <p:blipFill>
            <a:blip r:embed="rId4" cstate="print">
              <a:duotone>
                <a:prstClr val="black"/>
                <a:schemeClr val="tx2">
                  <a:tint val="45000"/>
                  <a:satMod val="400000"/>
                </a:schemeClr>
              </a:duotone>
            </a:blip>
            <a:stretch>
              <a:fillRect/>
            </a:stretch>
          </p:blipFill>
          <p:spPr bwMode="auto">
            <a:xfrm>
              <a:off x="1375149" y="3040063"/>
              <a:ext cx="914400" cy="914400"/>
            </a:xfrm>
            <a:prstGeom prst="rect">
              <a:avLst/>
            </a:prstGeom>
            <a:noFill/>
          </p:spPr>
        </p:pic>
        <p:sp>
          <p:nvSpPr>
            <p:cNvPr id="79" name="TextBox 78">
              <a:extLst>
                <a:ext uri="{FF2B5EF4-FFF2-40B4-BE49-F238E27FC236}">
                  <a16:creationId xmlns:a16="http://schemas.microsoft.com/office/drawing/2014/main" id="{014BC2E4-0F13-468F-8130-4934D590F1DC}"/>
                </a:ext>
              </a:extLst>
            </p:cNvPr>
            <p:cNvSpPr txBox="1"/>
            <p:nvPr/>
          </p:nvSpPr>
          <p:spPr>
            <a:xfrm>
              <a:off x="917949" y="3695930"/>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mof</a:t>
              </a:r>
            </a:p>
          </p:txBody>
        </p:sp>
      </p:grpSp>
      <p:sp>
        <p:nvSpPr>
          <p:cNvPr id="80" name="Right Arrow 38">
            <a:extLst>
              <a:ext uri="{FF2B5EF4-FFF2-40B4-BE49-F238E27FC236}">
                <a16:creationId xmlns:a16="http://schemas.microsoft.com/office/drawing/2014/main" id="{3FD9B4DF-29F7-4C59-BDD1-D14146A82062}"/>
              </a:ext>
            </a:extLst>
          </p:cNvPr>
          <p:cNvSpPr/>
          <p:nvPr/>
        </p:nvSpPr>
        <p:spPr bwMode="auto">
          <a:xfrm>
            <a:off x="2134460" y="2074888"/>
            <a:ext cx="7962163" cy="68321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err="1">
                <a:gradFill>
                  <a:gsLst>
                    <a:gs pos="0">
                      <a:srgbClr val="FFFFFF"/>
                    </a:gs>
                    <a:gs pos="100000">
                      <a:srgbClr val="FFFFFF"/>
                    </a:gs>
                  </a:gsLst>
                  <a:lin ang="5400000" scaled="0"/>
                </a:gradFill>
                <a:ea typeface="Segoe UI" pitchFamily="34" charset="0"/>
                <a:cs typeface="Segoe UI" pitchFamily="34" charset="0"/>
              </a:rPr>
              <a:t>Config</a:t>
            </a:r>
            <a:r>
              <a:rPr lang="en-US" dirty="0">
                <a:gradFill>
                  <a:gsLst>
                    <a:gs pos="0">
                      <a:srgbClr val="FFFFFF"/>
                    </a:gs>
                    <a:gs pos="100000">
                      <a:srgbClr val="FFFFFF"/>
                    </a:gs>
                  </a:gsLst>
                  <a:lin ang="5400000" scaled="0"/>
                </a:gradFill>
                <a:ea typeface="Segoe UI" pitchFamily="34" charset="0"/>
                <a:cs typeface="Segoe UI" pitchFamily="34" charset="0"/>
              </a:rPr>
              <a:t> Pushed</a:t>
            </a:r>
          </a:p>
        </p:txBody>
      </p:sp>
      <p:grpSp>
        <p:nvGrpSpPr>
          <p:cNvPr id="81" name="Group 80">
            <a:extLst>
              <a:ext uri="{FF2B5EF4-FFF2-40B4-BE49-F238E27FC236}">
                <a16:creationId xmlns:a16="http://schemas.microsoft.com/office/drawing/2014/main" id="{CB167A96-1E43-4A59-9B50-04A4D694E878}"/>
              </a:ext>
            </a:extLst>
          </p:cNvPr>
          <p:cNvGrpSpPr/>
          <p:nvPr/>
        </p:nvGrpSpPr>
        <p:grpSpPr>
          <a:xfrm>
            <a:off x="9854732" y="1427388"/>
            <a:ext cx="1792850" cy="1979951"/>
            <a:chOff x="9323581" y="1643064"/>
            <a:chExt cx="1828800" cy="2019653"/>
          </a:xfrm>
        </p:grpSpPr>
        <p:pic>
          <p:nvPicPr>
            <p:cNvPr id="82" name="Picture 81" descr="\\MAGNUM\Projects\Microsoft\Cloud Power FY12\Design\Icons\PNGs\Server_2.png">
              <a:extLst>
                <a:ext uri="{FF2B5EF4-FFF2-40B4-BE49-F238E27FC236}">
                  <a16:creationId xmlns:a16="http://schemas.microsoft.com/office/drawing/2014/main" id="{64186905-BE47-4C07-9019-E5CFCDD120E6}"/>
                </a:ext>
              </a:extLst>
            </p:cNvPr>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9323581" y="1643064"/>
              <a:ext cx="1828800" cy="1828800"/>
            </a:xfrm>
            <a:prstGeom prst="rect">
              <a:avLst/>
            </a:prstGeom>
            <a:noFill/>
          </p:spPr>
        </p:pic>
        <p:sp>
          <p:nvSpPr>
            <p:cNvPr id="83" name="TextBox 82">
              <a:extLst>
                <a:ext uri="{FF2B5EF4-FFF2-40B4-BE49-F238E27FC236}">
                  <a16:creationId xmlns:a16="http://schemas.microsoft.com/office/drawing/2014/main" id="{1F092A0C-B595-40B9-A8C2-BD147242C533}"/>
                </a:ext>
              </a:extLst>
            </p:cNvPr>
            <p:cNvSpPr txBox="1"/>
            <p:nvPr/>
          </p:nvSpPr>
          <p:spPr>
            <a:xfrm>
              <a:off x="9323581" y="3145652"/>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a:t>
              </a:r>
            </a:p>
          </p:txBody>
        </p:sp>
      </p:grpSp>
      <p:pic>
        <p:nvPicPr>
          <p:cNvPr id="84" name="Picture 2" descr="\\MAGNUM\Projects\Microsoft\Cloud Power FY12\Design\ICONS_PNG\Next_Gen_Application.png">
            <a:extLst>
              <a:ext uri="{FF2B5EF4-FFF2-40B4-BE49-F238E27FC236}">
                <a16:creationId xmlns:a16="http://schemas.microsoft.com/office/drawing/2014/main" id="{A43AF53F-2BF1-4695-8990-FA35B64787A3}"/>
              </a:ext>
            </a:extLst>
          </p:cNvPr>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5131052" y="3123226"/>
            <a:ext cx="1625095" cy="1625095"/>
          </a:xfrm>
          <a:prstGeom prst="rect">
            <a:avLst/>
          </a:prstGeom>
          <a:noFill/>
        </p:spPr>
      </p:pic>
      <p:grpSp>
        <p:nvGrpSpPr>
          <p:cNvPr id="85" name="Group 84">
            <a:extLst>
              <a:ext uri="{FF2B5EF4-FFF2-40B4-BE49-F238E27FC236}">
                <a16:creationId xmlns:a16="http://schemas.microsoft.com/office/drawing/2014/main" id="{23BBFD17-F6BF-4A9E-9A8F-FCDA970968D8}"/>
              </a:ext>
            </a:extLst>
          </p:cNvPr>
          <p:cNvGrpSpPr/>
          <p:nvPr/>
        </p:nvGrpSpPr>
        <p:grpSpPr>
          <a:xfrm>
            <a:off x="5298667" y="4704627"/>
            <a:ext cx="1594667" cy="1559645"/>
            <a:chOff x="9004759" y="599109"/>
            <a:chExt cx="1869866" cy="1828800"/>
          </a:xfrm>
        </p:grpSpPr>
        <p:pic>
          <p:nvPicPr>
            <p:cNvPr id="86" name="Picture 2" descr="\\MAGNUM\Projects\Microsoft\Cloud Power FY12\Design\Icons\PNGs\Server_2.png">
              <a:extLst>
                <a:ext uri="{FF2B5EF4-FFF2-40B4-BE49-F238E27FC236}">
                  <a16:creationId xmlns:a16="http://schemas.microsoft.com/office/drawing/2014/main" id="{42962774-1DED-4B05-B035-00053321F42A}"/>
                </a:ext>
              </a:extLst>
            </p:cNvPr>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9045825" y="599109"/>
              <a:ext cx="1828800" cy="1828800"/>
            </a:xfrm>
            <a:prstGeom prst="rect">
              <a:avLst/>
            </a:prstGeom>
            <a:noFill/>
          </p:spPr>
        </p:pic>
        <p:pic>
          <p:nvPicPr>
            <p:cNvPr id="87" name="Picture 5" descr="C:\Users\mitchellg\Desktop\Folder.png">
              <a:extLst>
                <a:ext uri="{FF2B5EF4-FFF2-40B4-BE49-F238E27FC236}">
                  <a16:creationId xmlns:a16="http://schemas.microsoft.com/office/drawing/2014/main" id="{68AF0CE8-91A0-42F2-9CBD-D6171BDA0BA7}"/>
                </a:ext>
              </a:extLst>
            </p:cNvPr>
            <p:cNvPicPr>
              <a:picLocks noChangeAspect="1" noChangeArrowheads="1"/>
            </p:cNvPicPr>
            <p:nvPr/>
          </p:nvPicPr>
          <p:blipFill>
            <a:blip r:embed="rId7" cstate="print">
              <a:duotone>
                <a:prstClr val="black"/>
                <a:schemeClr val="tx2">
                  <a:tint val="45000"/>
                  <a:satMod val="400000"/>
                </a:schemeClr>
              </a:duotone>
            </a:blip>
            <a:srcRect/>
            <a:stretch>
              <a:fillRect/>
            </a:stretch>
          </p:blipFill>
          <p:spPr bwMode="auto">
            <a:xfrm>
              <a:off x="9004759" y="901721"/>
              <a:ext cx="1063142" cy="1063142"/>
            </a:xfrm>
            <a:prstGeom prst="rect">
              <a:avLst/>
            </a:prstGeom>
            <a:noFill/>
          </p:spPr>
        </p:pic>
      </p:grpSp>
      <p:sp>
        <p:nvSpPr>
          <p:cNvPr id="88" name="U-Turn Arrow 48">
            <a:extLst>
              <a:ext uri="{FF2B5EF4-FFF2-40B4-BE49-F238E27FC236}">
                <a16:creationId xmlns:a16="http://schemas.microsoft.com/office/drawing/2014/main" id="{70746D6D-BB6B-4806-AFB1-9BAFAA2EABFF}"/>
              </a:ext>
            </a:extLst>
          </p:cNvPr>
          <p:cNvSpPr/>
          <p:nvPr/>
        </p:nvSpPr>
        <p:spPr bwMode="auto">
          <a:xfrm rot="16200000">
            <a:off x="7907012" y="2300701"/>
            <a:ext cx="1192381" cy="3189308"/>
          </a:xfrm>
          <a:prstGeom prst="uturnArrow">
            <a:avLst>
              <a:gd name="adj1" fmla="val 25000"/>
              <a:gd name="adj2" fmla="val 25000"/>
              <a:gd name="adj3" fmla="val 25881"/>
              <a:gd name="adj4" fmla="val 43750"/>
              <a:gd name="adj5"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err="1">
                <a:gradFill>
                  <a:gsLst>
                    <a:gs pos="0">
                      <a:srgbClr val="FFFFFF"/>
                    </a:gs>
                    <a:gs pos="100000">
                      <a:srgbClr val="FFFFFF"/>
                    </a:gs>
                  </a:gsLst>
                  <a:lin ang="5400000" scaled="0"/>
                </a:gradFill>
                <a:ea typeface="Segoe UI" pitchFamily="34" charset="0"/>
                <a:cs typeface="Segoe UI" pitchFamily="34" charset="0"/>
              </a:rPr>
              <a:t>Config</a:t>
            </a:r>
            <a:r>
              <a:rPr lang="en-US" sz="2000" dirty="0">
                <a:gradFill>
                  <a:gsLst>
                    <a:gs pos="0">
                      <a:srgbClr val="FFFFFF"/>
                    </a:gs>
                    <a:gs pos="100000">
                      <a:srgbClr val="FFFFFF"/>
                    </a:gs>
                  </a:gsLst>
                  <a:lin ang="5400000" scaled="0"/>
                </a:gradFill>
                <a:ea typeface="Segoe UI" pitchFamily="34" charset="0"/>
                <a:cs typeface="Segoe UI" pitchFamily="34" charset="0"/>
              </a:rPr>
              <a:t> Pulled</a:t>
            </a:r>
          </a:p>
        </p:txBody>
      </p:sp>
      <p:grpSp>
        <p:nvGrpSpPr>
          <p:cNvPr id="89" name="Group 88">
            <a:extLst>
              <a:ext uri="{FF2B5EF4-FFF2-40B4-BE49-F238E27FC236}">
                <a16:creationId xmlns:a16="http://schemas.microsoft.com/office/drawing/2014/main" id="{CF8F038E-64DC-4C5A-8D19-DF00CE74EA5C}"/>
              </a:ext>
            </a:extLst>
          </p:cNvPr>
          <p:cNvGrpSpPr/>
          <p:nvPr/>
        </p:nvGrpSpPr>
        <p:grpSpPr>
          <a:xfrm>
            <a:off x="9866533" y="3037228"/>
            <a:ext cx="1792850" cy="1979951"/>
            <a:chOff x="9323581" y="1643064"/>
            <a:chExt cx="1828800" cy="2019653"/>
          </a:xfrm>
        </p:grpSpPr>
        <p:pic>
          <p:nvPicPr>
            <p:cNvPr id="90" name="Picture 89" descr="\\MAGNUM\Projects\Microsoft\Cloud Power FY12\Design\Icons\PNGs\Server_2.png">
              <a:extLst>
                <a:ext uri="{FF2B5EF4-FFF2-40B4-BE49-F238E27FC236}">
                  <a16:creationId xmlns:a16="http://schemas.microsoft.com/office/drawing/2014/main" id="{B9A88240-C4EA-4A0D-ABEB-9E3A56464F2D}"/>
                </a:ext>
              </a:extLst>
            </p:cNvPr>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9323581" y="1643064"/>
              <a:ext cx="1828800" cy="1828800"/>
            </a:xfrm>
            <a:prstGeom prst="rect">
              <a:avLst/>
            </a:prstGeom>
            <a:noFill/>
          </p:spPr>
        </p:pic>
        <p:sp>
          <p:nvSpPr>
            <p:cNvPr id="91" name="TextBox 90">
              <a:extLst>
                <a:ext uri="{FF2B5EF4-FFF2-40B4-BE49-F238E27FC236}">
                  <a16:creationId xmlns:a16="http://schemas.microsoft.com/office/drawing/2014/main" id="{98424973-0D6E-406A-883F-DF5EFE9AA891}"/>
                </a:ext>
              </a:extLst>
            </p:cNvPr>
            <p:cNvSpPr txBox="1"/>
            <p:nvPr/>
          </p:nvSpPr>
          <p:spPr>
            <a:xfrm>
              <a:off x="9323581" y="3145652"/>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a:t>
              </a:r>
            </a:p>
          </p:txBody>
        </p:sp>
      </p:grpSp>
      <p:grpSp>
        <p:nvGrpSpPr>
          <p:cNvPr id="92" name="Group 91">
            <a:extLst>
              <a:ext uri="{FF2B5EF4-FFF2-40B4-BE49-F238E27FC236}">
                <a16:creationId xmlns:a16="http://schemas.microsoft.com/office/drawing/2014/main" id="{CBE36FBD-6C07-4117-8FC0-477B7ACFC20A}"/>
              </a:ext>
            </a:extLst>
          </p:cNvPr>
          <p:cNvGrpSpPr/>
          <p:nvPr/>
        </p:nvGrpSpPr>
        <p:grpSpPr>
          <a:xfrm>
            <a:off x="9854732" y="4647069"/>
            <a:ext cx="1792850" cy="1979951"/>
            <a:chOff x="9323581" y="1643064"/>
            <a:chExt cx="1828800" cy="2019653"/>
          </a:xfrm>
        </p:grpSpPr>
        <p:pic>
          <p:nvPicPr>
            <p:cNvPr id="93" name="Picture 92" descr="\\MAGNUM\Projects\Microsoft\Cloud Power FY12\Design\Icons\PNGs\Server_2.png">
              <a:extLst>
                <a:ext uri="{FF2B5EF4-FFF2-40B4-BE49-F238E27FC236}">
                  <a16:creationId xmlns:a16="http://schemas.microsoft.com/office/drawing/2014/main" id="{543C652B-5C06-4969-A55A-9A5FC746F3A7}"/>
                </a:ext>
              </a:extLst>
            </p:cNvPr>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9323581" y="1643064"/>
              <a:ext cx="1828800" cy="1828800"/>
            </a:xfrm>
            <a:prstGeom prst="rect">
              <a:avLst/>
            </a:prstGeom>
            <a:noFill/>
          </p:spPr>
        </p:pic>
        <p:sp>
          <p:nvSpPr>
            <p:cNvPr id="94" name="TextBox 93">
              <a:extLst>
                <a:ext uri="{FF2B5EF4-FFF2-40B4-BE49-F238E27FC236}">
                  <a16:creationId xmlns:a16="http://schemas.microsoft.com/office/drawing/2014/main" id="{B7907F55-7B64-438C-8D9E-6EB236639D83}"/>
                </a:ext>
              </a:extLst>
            </p:cNvPr>
            <p:cNvSpPr txBox="1"/>
            <p:nvPr/>
          </p:nvSpPr>
          <p:spPr>
            <a:xfrm>
              <a:off x="9323581" y="3145652"/>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a:t>
              </a:r>
            </a:p>
          </p:txBody>
        </p:sp>
      </p:grpSp>
      <p:grpSp>
        <p:nvGrpSpPr>
          <p:cNvPr id="95" name="Group 94">
            <a:extLst>
              <a:ext uri="{FF2B5EF4-FFF2-40B4-BE49-F238E27FC236}">
                <a16:creationId xmlns:a16="http://schemas.microsoft.com/office/drawing/2014/main" id="{8F7FE329-5720-43C6-9178-2CAC1572BDF8}"/>
              </a:ext>
            </a:extLst>
          </p:cNvPr>
          <p:cNvGrpSpPr/>
          <p:nvPr/>
        </p:nvGrpSpPr>
        <p:grpSpPr>
          <a:xfrm>
            <a:off x="505305" y="3816449"/>
            <a:ext cx="1792850" cy="1149875"/>
            <a:chOff x="917949" y="3040063"/>
            <a:chExt cx="1828800" cy="1172932"/>
          </a:xfrm>
        </p:grpSpPr>
        <p:pic>
          <p:nvPicPr>
            <p:cNvPr id="96" name="Picture 95" descr="\\MAGNUM\Projects\Microsoft\Cloud Power FY12\Design\ICONS_PNG\Document.png">
              <a:extLst>
                <a:ext uri="{FF2B5EF4-FFF2-40B4-BE49-F238E27FC236}">
                  <a16:creationId xmlns:a16="http://schemas.microsoft.com/office/drawing/2014/main" id="{6BE5A351-C663-4BAB-8816-78E252754ECC}"/>
                </a:ext>
              </a:extLst>
            </p:cNvPr>
            <p:cNvPicPr>
              <a:picLocks noChangeAspect="1" noChangeArrowheads="1"/>
            </p:cNvPicPr>
            <p:nvPr/>
          </p:nvPicPr>
          <p:blipFill>
            <a:blip r:embed="rId4" cstate="print">
              <a:duotone>
                <a:prstClr val="black"/>
                <a:schemeClr val="tx2">
                  <a:tint val="45000"/>
                  <a:satMod val="400000"/>
                </a:schemeClr>
              </a:duotone>
            </a:blip>
            <a:stretch>
              <a:fillRect/>
            </a:stretch>
          </p:blipFill>
          <p:spPr bwMode="auto">
            <a:xfrm>
              <a:off x="1375149" y="3040063"/>
              <a:ext cx="914400" cy="914400"/>
            </a:xfrm>
            <a:prstGeom prst="rect">
              <a:avLst/>
            </a:prstGeom>
            <a:noFill/>
          </p:spPr>
        </p:pic>
        <p:sp>
          <p:nvSpPr>
            <p:cNvPr id="97" name="TextBox 96">
              <a:extLst>
                <a:ext uri="{FF2B5EF4-FFF2-40B4-BE49-F238E27FC236}">
                  <a16:creationId xmlns:a16="http://schemas.microsoft.com/office/drawing/2014/main" id="{8EB48941-38AD-4AFC-8A0E-E8516F6734F0}"/>
                </a:ext>
              </a:extLst>
            </p:cNvPr>
            <p:cNvSpPr txBox="1"/>
            <p:nvPr/>
          </p:nvSpPr>
          <p:spPr>
            <a:xfrm>
              <a:off x="917949" y="3695930"/>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mof</a:t>
              </a:r>
            </a:p>
          </p:txBody>
        </p:sp>
      </p:grpSp>
      <p:grpSp>
        <p:nvGrpSpPr>
          <p:cNvPr id="98" name="Group 97">
            <a:extLst>
              <a:ext uri="{FF2B5EF4-FFF2-40B4-BE49-F238E27FC236}">
                <a16:creationId xmlns:a16="http://schemas.microsoft.com/office/drawing/2014/main" id="{31E9DEBE-13CA-4552-AD78-BBBF72D88DAD}"/>
              </a:ext>
            </a:extLst>
          </p:cNvPr>
          <p:cNvGrpSpPr/>
          <p:nvPr/>
        </p:nvGrpSpPr>
        <p:grpSpPr>
          <a:xfrm>
            <a:off x="505305" y="4548421"/>
            <a:ext cx="1792850" cy="1149875"/>
            <a:chOff x="917949" y="3040063"/>
            <a:chExt cx="1828800" cy="1172932"/>
          </a:xfrm>
        </p:grpSpPr>
        <p:pic>
          <p:nvPicPr>
            <p:cNvPr id="99" name="Picture 98" descr="\\MAGNUM\Projects\Microsoft\Cloud Power FY12\Design\ICONS_PNG\Document.png">
              <a:extLst>
                <a:ext uri="{FF2B5EF4-FFF2-40B4-BE49-F238E27FC236}">
                  <a16:creationId xmlns:a16="http://schemas.microsoft.com/office/drawing/2014/main" id="{9374AAEF-5EFB-413C-9BDB-568DBE643448}"/>
                </a:ext>
              </a:extLst>
            </p:cNvPr>
            <p:cNvPicPr>
              <a:picLocks noChangeAspect="1" noChangeArrowheads="1"/>
            </p:cNvPicPr>
            <p:nvPr/>
          </p:nvPicPr>
          <p:blipFill>
            <a:blip r:embed="rId4" cstate="print">
              <a:duotone>
                <a:prstClr val="black"/>
                <a:schemeClr val="tx2">
                  <a:tint val="45000"/>
                  <a:satMod val="400000"/>
                </a:schemeClr>
              </a:duotone>
            </a:blip>
            <a:stretch>
              <a:fillRect/>
            </a:stretch>
          </p:blipFill>
          <p:spPr bwMode="auto">
            <a:xfrm>
              <a:off x="1375149" y="3040063"/>
              <a:ext cx="914400" cy="914400"/>
            </a:xfrm>
            <a:prstGeom prst="rect">
              <a:avLst/>
            </a:prstGeom>
            <a:noFill/>
          </p:spPr>
        </p:pic>
        <p:sp>
          <p:nvSpPr>
            <p:cNvPr id="100" name="TextBox 99">
              <a:extLst>
                <a:ext uri="{FF2B5EF4-FFF2-40B4-BE49-F238E27FC236}">
                  <a16:creationId xmlns:a16="http://schemas.microsoft.com/office/drawing/2014/main" id="{DD2063F9-FB52-4A30-BE63-839659277186}"/>
                </a:ext>
              </a:extLst>
            </p:cNvPr>
            <p:cNvSpPr txBox="1"/>
            <p:nvPr/>
          </p:nvSpPr>
          <p:spPr>
            <a:xfrm>
              <a:off x="917949" y="3695930"/>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mof</a:t>
              </a:r>
            </a:p>
          </p:txBody>
        </p:sp>
      </p:grpSp>
      <p:grpSp>
        <p:nvGrpSpPr>
          <p:cNvPr id="101" name="Group 100">
            <a:extLst>
              <a:ext uri="{FF2B5EF4-FFF2-40B4-BE49-F238E27FC236}">
                <a16:creationId xmlns:a16="http://schemas.microsoft.com/office/drawing/2014/main" id="{95528813-6E67-49F1-AE6C-2BFAD1AA5773}"/>
              </a:ext>
            </a:extLst>
          </p:cNvPr>
          <p:cNvGrpSpPr/>
          <p:nvPr/>
        </p:nvGrpSpPr>
        <p:grpSpPr>
          <a:xfrm>
            <a:off x="505305" y="5280392"/>
            <a:ext cx="1792850" cy="1149875"/>
            <a:chOff x="917949" y="3040063"/>
            <a:chExt cx="1828800" cy="1172932"/>
          </a:xfrm>
        </p:grpSpPr>
        <p:pic>
          <p:nvPicPr>
            <p:cNvPr id="102" name="Picture 101" descr="\\MAGNUM\Projects\Microsoft\Cloud Power FY12\Design\ICONS_PNG\Document.png">
              <a:extLst>
                <a:ext uri="{FF2B5EF4-FFF2-40B4-BE49-F238E27FC236}">
                  <a16:creationId xmlns:a16="http://schemas.microsoft.com/office/drawing/2014/main" id="{86D52DA8-D788-4E57-A749-0ABE1A2E1CF5}"/>
                </a:ext>
              </a:extLst>
            </p:cNvPr>
            <p:cNvPicPr>
              <a:picLocks noChangeAspect="1" noChangeArrowheads="1"/>
            </p:cNvPicPr>
            <p:nvPr/>
          </p:nvPicPr>
          <p:blipFill>
            <a:blip r:embed="rId4" cstate="print">
              <a:duotone>
                <a:prstClr val="black"/>
                <a:schemeClr val="tx2">
                  <a:tint val="45000"/>
                  <a:satMod val="400000"/>
                </a:schemeClr>
              </a:duotone>
            </a:blip>
            <a:stretch>
              <a:fillRect/>
            </a:stretch>
          </p:blipFill>
          <p:spPr bwMode="auto">
            <a:xfrm>
              <a:off x="1375149" y="3040063"/>
              <a:ext cx="914400" cy="914400"/>
            </a:xfrm>
            <a:prstGeom prst="rect">
              <a:avLst/>
            </a:prstGeom>
            <a:noFill/>
          </p:spPr>
        </p:pic>
        <p:sp>
          <p:nvSpPr>
            <p:cNvPr id="103" name="TextBox 102">
              <a:extLst>
                <a:ext uri="{FF2B5EF4-FFF2-40B4-BE49-F238E27FC236}">
                  <a16:creationId xmlns:a16="http://schemas.microsoft.com/office/drawing/2014/main" id="{588B65FA-FF9B-4A38-BBED-6B47944B812F}"/>
                </a:ext>
              </a:extLst>
            </p:cNvPr>
            <p:cNvSpPr txBox="1"/>
            <p:nvPr/>
          </p:nvSpPr>
          <p:spPr>
            <a:xfrm>
              <a:off x="917949" y="3695930"/>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mof</a:t>
              </a:r>
            </a:p>
          </p:txBody>
        </p:sp>
      </p:grpSp>
      <p:sp>
        <p:nvSpPr>
          <p:cNvPr id="104" name="U-Turn Arrow 70">
            <a:extLst>
              <a:ext uri="{FF2B5EF4-FFF2-40B4-BE49-F238E27FC236}">
                <a16:creationId xmlns:a16="http://schemas.microsoft.com/office/drawing/2014/main" id="{49C1C4A6-07B2-4E3C-8606-8BDB2DDC586D}"/>
              </a:ext>
            </a:extLst>
          </p:cNvPr>
          <p:cNvSpPr/>
          <p:nvPr/>
        </p:nvSpPr>
        <p:spPr bwMode="auto">
          <a:xfrm rot="16200000">
            <a:off x="7911184" y="3793359"/>
            <a:ext cx="1192381" cy="3189309"/>
          </a:xfrm>
          <a:prstGeom prst="uturnArrow">
            <a:avLst>
              <a:gd name="adj1" fmla="val 25000"/>
              <a:gd name="adj2" fmla="val 25000"/>
              <a:gd name="adj3" fmla="val 25881"/>
              <a:gd name="adj4" fmla="val 43750"/>
              <a:gd name="adj5"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err="1">
                <a:gradFill>
                  <a:gsLst>
                    <a:gs pos="0">
                      <a:srgbClr val="FFFFFF"/>
                    </a:gs>
                    <a:gs pos="100000">
                      <a:srgbClr val="FFFFFF"/>
                    </a:gs>
                  </a:gsLst>
                  <a:lin ang="5400000" scaled="0"/>
                </a:gradFill>
                <a:ea typeface="Segoe UI" pitchFamily="34" charset="0"/>
                <a:cs typeface="Segoe UI" pitchFamily="34" charset="0"/>
              </a:rPr>
              <a:t>Config</a:t>
            </a:r>
            <a:r>
              <a:rPr lang="en-US" sz="2000" dirty="0">
                <a:gradFill>
                  <a:gsLst>
                    <a:gs pos="0">
                      <a:srgbClr val="FFFFFF"/>
                    </a:gs>
                    <a:gs pos="100000">
                      <a:srgbClr val="FFFFFF"/>
                    </a:gs>
                  </a:gsLst>
                  <a:lin ang="5400000" scaled="0"/>
                </a:gradFill>
                <a:ea typeface="Segoe UI" pitchFamily="34" charset="0"/>
                <a:cs typeface="Segoe UI" pitchFamily="34" charset="0"/>
              </a:rPr>
              <a:t> Pulled</a:t>
            </a:r>
          </a:p>
        </p:txBody>
      </p:sp>
      <p:sp>
        <p:nvSpPr>
          <p:cNvPr id="105" name="Right Arrow 72">
            <a:extLst>
              <a:ext uri="{FF2B5EF4-FFF2-40B4-BE49-F238E27FC236}">
                <a16:creationId xmlns:a16="http://schemas.microsoft.com/office/drawing/2014/main" id="{8707112F-6E5C-4099-8C43-2132517AEB3B}"/>
              </a:ext>
            </a:extLst>
          </p:cNvPr>
          <p:cNvSpPr/>
          <p:nvPr/>
        </p:nvSpPr>
        <p:spPr bwMode="auto">
          <a:xfrm>
            <a:off x="2134460" y="3581394"/>
            <a:ext cx="2996592" cy="68321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err="1">
                <a:gradFill>
                  <a:gsLst>
                    <a:gs pos="0">
                      <a:srgbClr val="FFFFFF"/>
                    </a:gs>
                    <a:gs pos="100000">
                      <a:srgbClr val="FFFFFF"/>
                    </a:gs>
                  </a:gsLst>
                  <a:lin ang="5400000" scaled="0"/>
                </a:gradFill>
                <a:ea typeface="Segoe UI" pitchFamily="34" charset="0"/>
                <a:cs typeface="Segoe UI" pitchFamily="34" charset="0"/>
              </a:rPr>
              <a:t>Configs</a:t>
            </a:r>
            <a:r>
              <a:rPr lang="en-US" dirty="0">
                <a:gradFill>
                  <a:gsLst>
                    <a:gs pos="0">
                      <a:srgbClr val="FFFFFF"/>
                    </a:gs>
                    <a:gs pos="100000">
                      <a:srgbClr val="FFFFFF"/>
                    </a:gs>
                  </a:gsLst>
                  <a:lin ang="5400000" scaled="0"/>
                </a:gradFill>
                <a:ea typeface="Segoe UI" pitchFamily="34" charset="0"/>
                <a:cs typeface="Segoe UI" pitchFamily="34" charset="0"/>
              </a:rPr>
              <a:t> Deployed</a:t>
            </a:r>
          </a:p>
        </p:txBody>
      </p:sp>
      <p:sp>
        <p:nvSpPr>
          <p:cNvPr id="106" name="Right Arrow 73">
            <a:extLst>
              <a:ext uri="{FF2B5EF4-FFF2-40B4-BE49-F238E27FC236}">
                <a16:creationId xmlns:a16="http://schemas.microsoft.com/office/drawing/2014/main" id="{3368552A-B063-45B0-9534-8642F9611A51}"/>
              </a:ext>
            </a:extLst>
          </p:cNvPr>
          <p:cNvSpPr/>
          <p:nvPr/>
        </p:nvSpPr>
        <p:spPr bwMode="auto">
          <a:xfrm>
            <a:off x="2134460" y="5057328"/>
            <a:ext cx="2996592" cy="68321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err="1">
                <a:gradFill>
                  <a:gsLst>
                    <a:gs pos="0">
                      <a:srgbClr val="FFFFFF"/>
                    </a:gs>
                    <a:gs pos="100000">
                      <a:srgbClr val="FFFFFF"/>
                    </a:gs>
                  </a:gsLst>
                  <a:lin ang="5400000" scaled="0"/>
                </a:gradFill>
                <a:ea typeface="Segoe UI" pitchFamily="34" charset="0"/>
                <a:cs typeface="Segoe UI" pitchFamily="34" charset="0"/>
              </a:rPr>
              <a:t>Configs</a:t>
            </a:r>
            <a:r>
              <a:rPr lang="en-US" dirty="0">
                <a:gradFill>
                  <a:gsLst>
                    <a:gs pos="0">
                      <a:srgbClr val="FFFFFF"/>
                    </a:gs>
                    <a:gs pos="100000">
                      <a:srgbClr val="FFFFFF"/>
                    </a:gs>
                  </a:gsLst>
                  <a:lin ang="5400000" scaled="0"/>
                </a:gradFill>
                <a:ea typeface="Segoe UI" pitchFamily="34" charset="0"/>
                <a:cs typeface="Segoe UI" pitchFamily="34" charset="0"/>
              </a:rPr>
              <a:t> Deployed</a:t>
            </a:r>
          </a:p>
        </p:txBody>
      </p:sp>
      <p:sp>
        <p:nvSpPr>
          <p:cNvPr id="107" name="TextBox 106">
            <a:extLst>
              <a:ext uri="{FF2B5EF4-FFF2-40B4-BE49-F238E27FC236}">
                <a16:creationId xmlns:a16="http://schemas.microsoft.com/office/drawing/2014/main" id="{5B781DE1-7106-4992-A426-724CAB596BBB}"/>
              </a:ext>
            </a:extLst>
          </p:cNvPr>
          <p:cNvSpPr txBox="1"/>
          <p:nvPr/>
        </p:nvSpPr>
        <p:spPr>
          <a:xfrm>
            <a:off x="5073031" y="4337549"/>
            <a:ext cx="2080959"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0000">
                    <a:lumMod val="65000"/>
                    <a:lumOff val="35000"/>
                  </a:srgbClr>
                </a:solidFill>
              </a:rPr>
              <a:t>IIS</a:t>
            </a:r>
          </a:p>
        </p:txBody>
      </p:sp>
      <p:sp>
        <p:nvSpPr>
          <p:cNvPr id="108" name="TextBox 107">
            <a:extLst>
              <a:ext uri="{FF2B5EF4-FFF2-40B4-BE49-F238E27FC236}">
                <a16:creationId xmlns:a16="http://schemas.microsoft.com/office/drawing/2014/main" id="{212E23D1-49C4-4796-AD6C-5204787E838C}"/>
              </a:ext>
            </a:extLst>
          </p:cNvPr>
          <p:cNvSpPr txBox="1"/>
          <p:nvPr/>
        </p:nvSpPr>
        <p:spPr>
          <a:xfrm>
            <a:off x="5158045" y="5950491"/>
            <a:ext cx="1910932"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0000">
                    <a:lumMod val="65000"/>
                    <a:lumOff val="35000"/>
                  </a:srgbClr>
                </a:solidFill>
              </a:rPr>
              <a:t>File Share</a:t>
            </a:r>
          </a:p>
        </p:txBody>
      </p:sp>
    </p:spTree>
    <p:extLst>
      <p:ext uri="{BB962C8B-B14F-4D97-AF65-F5344CB8AC3E}">
        <p14:creationId xmlns:p14="http://schemas.microsoft.com/office/powerpoint/2010/main" val="294155433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3B3921-02A0-493F-82E9-5FC50C96B982}"/>
              </a:ext>
            </a:extLst>
          </p:cNvPr>
          <p:cNvSpPr/>
          <p:nvPr/>
        </p:nvSpPr>
        <p:spPr bwMode="auto">
          <a:xfrm>
            <a:off x="6028371" y="4225865"/>
            <a:ext cx="3375201" cy="2470476"/>
          </a:xfrm>
          <a:prstGeom prst="rect">
            <a:avLst/>
          </a:prstGeom>
          <a:solidFill>
            <a:srgbClr val="88CBFF">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9E38BBB-4601-49C6-971F-F4FF7A667122}"/>
              </a:ext>
            </a:extLst>
          </p:cNvPr>
          <p:cNvSpPr>
            <a:spLocks noGrp="1"/>
          </p:cNvSpPr>
          <p:nvPr>
            <p:ph type="title"/>
          </p:nvPr>
        </p:nvSpPr>
        <p:spPr/>
        <p:txBody>
          <a:bodyPr/>
          <a:lstStyle/>
          <a:p>
            <a:r>
              <a:rPr lang="en-US" b="0" i="0" u="none" strike="noStrike" dirty="0">
                <a:solidFill>
                  <a:srgbClr val="000000"/>
                </a:solidFill>
                <a:effectLst/>
                <a:latin typeface="Segoe UI Semibold" panose="020B0702040204020203" pitchFamily="34" charset="0"/>
              </a:rPr>
              <a:t>What is Configuration Data</a:t>
            </a:r>
            <a:r>
              <a:rPr lang="en-US" b="0" i="0" dirty="0">
                <a:solidFill>
                  <a:srgbClr val="000000"/>
                </a:solidFill>
                <a:effectLst/>
                <a:latin typeface="Segoe UI Semibold" panose="020B0702040204020203" pitchFamily="34" charset="0"/>
              </a:rPr>
              <a:t>​</a:t>
            </a:r>
            <a:endParaRPr lang="en-US" dirty="0"/>
          </a:p>
        </p:txBody>
      </p:sp>
      <p:sp>
        <p:nvSpPr>
          <p:cNvPr id="3" name="Text Placeholder 2">
            <a:extLst>
              <a:ext uri="{FF2B5EF4-FFF2-40B4-BE49-F238E27FC236}">
                <a16:creationId xmlns:a16="http://schemas.microsoft.com/office/drawing/2014/main" id="{F77CB6CD-E0D1-4266-9A84-04C7B8EB3FC7}"/>
              </a:ext>
            </a:extLst>
          </p:cNvPr>
          <p:cNvSpPr>
            <a:spLocks noGrp="1"/>
          </p:cNvSpPr>
          <p:nvPr>
            <p:ph type="body" sz="quarter" idx="10"/>
          </p:nvPr>
        </p:nvSpPr>
        <p:spPr>
          <a:xfrm>
            <a:off x="588263" y="937981"/>
            <a:ext cx="11018520" cy="3772828"/>
          </a:xfrm>
        </p:spPr>
        <p:txBody>
          <a:bodyPr/>
          <a:lstStyle/>
          <a:p>
            <a:pPr marL="310896" lvl="0" indent="-310896" defTabSz="932688">
              <a:spcBef>
                <a:spcPts val="672"/>
              </a:spcBef>
              <a:buClr>
                <a:srgbClr val="000000"/>
              </a:buClr>
              <a:buFont typeface="Wingdings" panose="05000000000000000000" pitchFamily="2" charset="2"/>
              <a:buChar char=""/>
            </a:pPr>
            <a:r>
              <a:rPr lang="en-US" sz="2400" dirty="0" err="1">
                <a:solidFill>
                  <a:srgbClr val="000000"/>
                </a:solidFill>
                <a:latin typeface="Segoe UI"/>
                <a:cs typeface="Segoe UI" panose="020B0502040204020203" pitchFamily="34" charset="0"/>
              </a:rPr>
              <a:t>ConfigurationData</a:t>
            </a:r>
            <a:r>
              <a:rPr lang="en-US" sz="2400" dirty="0">
                <a:solidFill>
                  <a:srgbClr val="000000"/>
                </a:solidFill>
                <a:latin typeface="Segoe UI"/>
                <a:cs typeface="Segoe UI" panose="020B0502040204020203" pitchFamily="34" charset="0"/>
              </a:rPr>
              <a:t> is an automatic parameter every configuration provides</a:t>
            </a:r>
          </a:p>
          <a:p>
            <a:pPr marL="310896" lvl="0" indent="-310896" defTabSz="932688">
              <a:spcBef>
                <a:spcPts val="672"/>
              </a:spcBef>
              <a:buClr>
                <a:srgbClr val="000000"/>
              </a:buClr>
              <a:buFont typeface="Wingdings" panose="05000000000000000000" pitchFamily="2" charset="2"/>
              <a:buChar char=""/>
            </a:pPr>
            <a:r>
              <a:rPr lang="en-US" sz="2400" dirty="0">
                <a:solidFill>
                  <a:srgbClr val="000000"/>
                </a:solidFill>
                <a:latin typeface="Segoe UI"/>
                <a:cs typeface="Segoe UI" panose="020B0502040204020203" pitchFamily="34" charset="0"/>
              </a:rPr>
              <a:t>Configuration Data is made available as $</a:t>
            </a:r>
            <a:r>
              <a:rPr lang="en-US" sz="2400" dirty="0" err="1">
                <a:solidFill>
                  <a:srgbClr val="000000"/>
                </a:solidFill>
                <a:latin typeface="Segoe UI"/>
                <a:cs typeface="Segoe UI" panose="020B0502040204020203" pitchFamily="34" charset="0"/>
              </a:rPr>
              <a:t>ConfigurationData</a:t>
            </a:r>
            <a:r>
              <a:rPr lang="en-US" sz="2400" dirty="0">
                <a:solidFill>
                  <a:srgbClr val="000000"/>
                </a:solidFill>
                <a:latin typeface="Segoe UI"/>
                <a:cs typeface="Segoe UI" panose="020B0502040204020203" pitchFamily="34" charset="0"/>
              </a:rPr>
              <a:t> within the configuration</a:t>
            </a:r>
          </a:p>
          <a:p>
            <a:pPr marL="310896" lvl="0" indent="-310896" defTabSz="932688">
              <a:spcBef>
                <a:spcPts val="672"/>
              </a:spcBef>
              <a:buClr>
                <a:srgbClr val="000000"/>
              </a:buClr>
              <a:buFont typeface="Wingdings" panose="05000000000000000000" pitchFamily="2" charset="2"/>
              <a:buChar char=""/>
            </a:pPr>
            <a:r>
              <a:rPr lang="en-US" sz="2400" dirty="0">
                <a:solidFill>
                  <a:srgbClr val="000000"/>
                </a:solidFill>
                <a:latin typeface="Segoe UI"/>
                <a:cs typeface="Segoe UI" panose="020B0502040204020203" pitchFamily="34" charset="0"/>
              </a:rPr>
              <a:t>Allows to provide data to the configuration for separating structural from environment configuration</a:t>
            </a:r>
          </a:p>
          <a:p>
            <a:pPr marL="310896" lvl="0" indent="-310896" defTabSz="932688">
              <a:spcBef>
                <a:spcPts val="672"/>
              </a:spcBef>
              <a:buClr>
                <a:srgbClr val="000000"/>
              </a:buClr>
              <a:buFont typeface="Wingdings" panose="05000000000000000000" pitchFamily="2" charset="2"/>
              <a:buChar char=""/>
            </a:pPr>
            <a:r>
              <a:rPr lang="en-US" sz="2400" dirty="0">
                <a:solidFill>
                  <a:srgbClr val="FF0000"/>
                </a:solidFill>
                <a:latin typeface="Segoe UI"/>
                <a:cs typeface="Segoe UI" panose="020B0502040204020203" pitchFamily="34" charset="0"/>
              </a:rPr>
              <a:t>The </a:t>
            </a:r>
            <a:r>
              <a:rPr lang="en-US" sz="2400" dirty="0" err="1">
                <a:solidFill>
                  <a:srgbClr val="FF0000"/>
                </a:solidFill>
                <a:latin typeface="Segoe UI"/>
                <a:cs typeface="Segoe UI" panose="020B0502040204020203" pitchFamily="34" charset="0"/>
              </a:rPr>
              <a:t>ConfigurationData</a:t>
            </a:r>
            <a:r>
              <a:rPr lang="en-US" sz="2400" dirty="0">
                <a:solidFill>
                  <a:srgbClr val="FF0000"/>
                </a:solidFill>
                <a:latin typeface="Segoe UI"/>
                <a:cs typeface="Segoe UI" panose="020B0502040204020203" pitchFamily="34" charset="0"/>
              </a:rPr>
              <a:t> parameter is a </a:t>
            </a:r>
            <a:r>
              <a:rPr lang="en-US" sz="2400" dirty="0" err="1">
                <a:solidFill>
                  <a:srgbClr val="FF0000"/>
                </a:solidFill>
                <a:latin typeface="Segoe UI"/>
                <a:cs typeface="Segoe UI" panose="020B0502040204020203" pitchFamily="34" charset="0"/>
              </a:rPr>
              <a:t>hashtable</a:t>
            </a:r>
            <a:r>
              <a:rPr lang="en-US" sz="2400" dirty="0">
                <a:solidFill>
                  <a:srgbClr val="FF0000"/>
                </a:solidFill>
                <a:latin typeface="Segoe UI"/>
                <a:cs typeface="Segoe UI" panose="020B0502040204020203" pitchFamily="34" charset="0"/>
              </a:rPr>
              <a:t> that must have at least one key named </a:t>
            </a:r>
            <a:r>
              <a:rPr lang="en-US" sz="2400" b="1" dirty="0" err="1">
                <a:solidFill>
                  <a:srgbClr val="FF0000"/>
                </a:solidFill>
                <a:latin typeface="Segoe UI"/>
                <a:cs typeface="Segoe UI" panose="020B0502040204020203" pitchFamily="34" charset="0"/>
              </a:rPr>
              <a:t>AllNodes</a:t>
            </a:r>
            <a:r>
              <a:rPr lang="en-US" sz="2400" dirty="0">
                <a:solidFill>
                  <a:srgbClr val="FF0000"/>
                </a:solidFill>
                <a:latin typeface="Segoe UI"/>
                <a:cs typeface="Segoe UI" panose="020B0502040204020203" pitchFamily="34" charset="0"/>
              </a:rPr>
              <a:t>. It can also have one or more other keys.</a:t>
            </a:r>
          </a:p>
          <a:p>
            <a:pPr marL="310896" lvl="0" indent="-310896" defTabSz="932688">
              <a:spcBef>
                <a:spcPts val="672"/>
              </a:spcBef>
              <a:buClr>
                <a:srgbClr val="000000"/>
              </a:buClr>
              <a:buFont typeface="Wingdings" panose="05000000000000000000" pitchFamily="2" charset="2"/>
              <a:buChar char=""/>
            </a:pPr>
            <a:r>
              <a:rPr lang="en-US" sz="2400" dirty="0" err="1">
                <a:solidFill>
                  <a:srgbClr val="000000"/>
                </a:solidFill>
                <a:latin typeface="Segoe UI"/>
                <a:cs typeface="Segoe UI" panose="020B0502040204020203" pitchFamily="34" charset="0"/>
              </a:rPr>
              <a:t>ConfigurationData</a:t>
            </a:r>
            <a:r>
              <a:rPr lang="en-US" sz="2400" dirty="0">
                <a:solidFill>
                  <a:srgbClr val="000000"/>
                </a:solidFill>
                <a:latin typeface="Segoe UI"/>
                <a:cs typeface="Segoe UI" panose="020B0502040204020203" pitchFamily="34" charset="0"/>
              </a:rPr>
              <a:t> can point to a psd1 file (which contains a </a:t>
            </a:r>
            <a:r>
              <a:rPr lang="en-US" sz="2400" dirty="0" err="1">
                <a:solidFill>
                  <a:srgbClr val="000000"/>
                </a:solidFill>
                <a:latin typeface="Segoe UI"/>
                <a:cs typeface="Segoe UI" panose="020B0502040204020203" pitchFamily="34" charset="0"/>
              </a:rPr>
              <a:t>hashtable</a:t>
            </a:r>
            <a:r>
              <a:rPr lang="en-US" sz="2400" dirty="0">
                <a:solidFill>
                  <a:srgbClr val="000000"/>
                </a:solidFill>
                <a:latin typeface="Segoe UI"/>
                <a:cs typeface="Segoe UI" panose="020B0502040204020203" pitchFamily="34" charset="0"/>
              </a:rPr>
              <a:t>)</a:t>
            </a:r>
          </a:p>
          <a:p>
            <a:pPr marL="310896" lvl="0" indent="-310896" defTabSz="932688">
              <a:spcBef>
                <a:spcPts val="672"/>
              </a:spcBef>
              <a:buClr>
                <a:srgbClr val="000000"/>
              </a:buClr>
              <a:buFont typeface="Wingdings" panose="05000000000000000000" pitchFamily="2" charset="2"/>
              <a:buChar char=""/>
            </a:pPr>
            <a:r>
              <a:rPr lang="en-US" sz="2400" dirty="0" err="1">
                <a:solidFill>
                  <a:srgbClr val="000000"/>
                </a:solidFill>
                <a:latin typeface="Segoe UI"/>
                <a:cs typeface="Segoe UI" panose="020B0502040204020203" pitchFamily="34" charset="0"/>
              </a:rPr>
              <a:t>AllNodes</a:t>
            </a:r>
            <a:r>
              <a:rPr lang="en-US" sz="2400" dirty="0">
                <a:solidFill>
                  <a:srgbClr val="000000"/>
                </a:solidFill>
                <a:latin typeface="Segoe UI"/>
                <a:cs typeface="Segoe UI" panose="020B0502040204020203" pitchFamily="34" charset="0"/>
              </a:rPr>
              <a:t> is an array of </a:t>
            </a:r>
            <a:r>
              <a:rPr lang="en-US" sz="2400" dirty="0" err="1">
                <a:solidFill>
                  <a:srgbClr val="000000"/>
                </a:solidFill>
                <a:latin typeface="Segoe UI"/>
                <a:cs typeface="Segoe UI" panose="020B0502040204020203" pitchFamily="34" charset="0"/>
              </a:rPr>
              <a:t>hashtables</a:t>
            </a:r>
            <a:endParaRPr lang="en-US" sz="2400" dirty="0">
              <a:solidFill>
                <a:srgbClr val="000000"/>
              </a:solidFill>
              <a:latin typeface="Segoe UI"/>
              <a:cs typeface="Segoe UI" panose="020B0502040204020203" pitchFamily="34" charset="0"/>
            </a:endParaRPr>
          </a:p>
        </p:txBody>
      </p:sp>
      <p:sp>
        <p:nvSpPr>
          <p:cNvPr id="6" name="TextBox 5">
            <a:extLst>
              <a:ext uri="{FF2B5EF4-FFF2-40B4-BE49-F238E27FC236}">
                <a16:creationId xmlns:a16="http://schemas.microsoft.com/office/drawing/2014/main" id="{31FBB5E9-B2E5-4C52-B25F-6D1EB619AB13}"/>
              </a:ext>
            </a:extLst>
          </p:cNvPr>
          <p:cNvSpPr txBox="1"/>
          <p:nvPr/>
        </p:nvSpPr>
        <p:spPr>
          <a:xfrm>
            <a:off x="6096000" y="4284981"/>
            <a:ext cx="3148361" cy="2308324"/>
          </a:xfrm>
          <a:prstGeom prst="rect">
            <a:avLst/>
          </a:prstGeom>
          <a:noFill/>
        </p:spPr>
        <p:txBody>
          <a:bodyPr wrap="square">
            <a:spAutoFit/>
          </a:bodyPr>
          <a:lstStyle/>
          <a:p>
            <a:r>
              <a:rPr lang="en-US" sz="1800" dirty="0"/>
              <a: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Data</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err="1">
                <a:solidFill>
                  <a:prstClr val="black"/>
                </a:solidFill>
                <a:latin typeface="Lucida Console" panose="020B0609040504020204" pitchFamily="49" charset="0"/>
              </a:rPr>
              <a:t>AllNodes</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 @{}, @{}</a:t>
            </a: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err="1">
                <a:solidFill>
                  <a:prstClr val="black"/>
                </a:solidFill>
                <a:latin typeface="Lucida Console" panose="020B0609040504020204" pitchFamily="49" charset="0"/>
              </a:rPr>
              <a:t>SomeData</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err="1">
                <a:solidFill>
                  <a:prstClr val="black"/>
                </a:solidFill>
                <a:latin typeface="Lucida Console" panose="020B0609040504020204" pitchFamily="49" charset="0"/>
              </a:rPr>
              <a:t>MoreData</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p>
        </p:txBody>
      </p:sp>
    </p:spTree>
    <p:extLst>
      <p:ext uri="{BB962C8B-B14F-4D97-AF65-F5344CB8AC3E}">
        <p14:creationId xmlns:p14="http://schemas.microsoft.com/office/powerpoint/2010/main" val="13199203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3E8A5-A0B0-4C8B-ACA5-651873EA8438}"/>
              </a:ext>
            </a:extLst>
          </p:cNvPr>
          <p:cNvSpPr>
            <a:spLocks noGrp="1"/>
          </p:cNvSpPr>
          <p:nvPr>
            <p:ph type="title"/>
          </p:nvPr>
        </p:nvSpPr>
        <p:spPr/>
        <p:txBody>
          <a:bodyPr/>
          <a:lstStyle/>
          <a:p>
            <a:r>
              <a:rPr lang="en-US" dirty="0"/>
              <a:t>Demo: Configuration Data</a:t>
            </a:r>
            <a:endParaRPr lang="LID4096" dirty="0"/>
          </a:p>
        </p:txBody>
      </p:sp>
    </p:spTree>
    <p:extLst>
      <p:ext uri="{BB962C8B-B14F-4D97-AF65-F5344CB8AC3E}">
        <p14:creationId xmlns:p14="http://schemas.microsoft.com/office/powerpoint/2010/main" val="183707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0BC6B-21A9-4774-A6F9-A5DDA985AD99}"/>
              </a:ext>
            </a:extLst>
          </p:cNvPr>
          <p:cNvSpPr>
            <a:spLocks noGrp="1"/>
          </p:cNvSpPr>
          <p:nvPr>
            <p:ph type="title"/>
          </p:nvPr>
        </p:nvSpPr>
        <p:spPr/>
        <p:txBody>
          <a:bodyPr/>
          <a:lstStyle/>
          <a:p>
            <a:r>
              <a:rPr lang="en-US" b="0" i="0" u="none" strike="noStrike">
                <a:solidFill>
                  <a:srgbClr val="000000"/>
                </a:solidFill>
                <a:effectLst/>
                <a:latin typeface="Segoe UI Semibold" panose="020B0702040204020203" pitchFamily="34" charset="0"/>
              </a:rPr>
              <a:t>Configuration</a:t>
            </a:r>
            <a:r>
              <a:rPr lang="en-US"/>
              <a:t> Data and Scalability</a:t>
            </a:r>
          </a:p>
        </p:txBody>
      </p:sp>
      <p:sp>
        <p:nvSpPr>
          <p:cNvPr id="5" name="Text Placeholder 2">
            <a:extLst>
              <a:ext uri="{FF2B5EF4-FFF2-40B4-BE49-F238E27FC236}">
                <a16:creationId xmlns:a16="http://schemas.microsoft.com/office/drawing/2014/main" id="{D8B9C894-4439-45FC-8DB0-D94C08169FD1}"/>
              </a:ext>
            </a:extLst>
          </p:cNvPr>
          <p:cNvSpPr>
            <a:spLocks noGrp="1"/>
          </p:cNvSpPr>
          <p:nvPr>
            <p:ph type="body" sz="quarter" idx="10"/>
          </p:nvPr>
        </p:nvSpPr>
        <p:spPr/>
        <p:txBody>
          <a:bodyPr/>
          <a:lstStyle/>
          <a:p>
            <a:r>
              <a:rPr lang="en-US" dirty="0"/>
              <a:t>Everyone’s nightmare: How do you understand or even maintain this?</a:t>
            </a:r>
          </a:p>
        </p:txBody>
      </p:sp>
      <p:graphicFrame>
        <p:nvGraphicFramePr>
          <p:cNvPr id="6" name="Object 5">
            <a:extLst>
              <a:ext uri="{FF2B5EF4-FFF2-40B4-BE49-F238E27FC236}">
                <a16:creationId xmlns:a16="http://schemas.microsoft.com/office/drawing/2014/main" id="{0C6CABF0-242A-4FC6-A979-2B9510D3A82B}"/>
              </a:ext>
            </a:extLst>
          </p:cNvPr>
          <p:cNvGraphicFramePr>
            <a:graphicFrameLocks noChangeAspect="1"/>
          </p:cNvGraphicFramePr>
          <p:nvPr>
            <p:extLst>
              <p:ext uri="{D42A27DB-BD31-4B8C-83A1-F6EECF244321}">
                <p14:modId xmlns:p14="http://schemas.microsoft.com/office/powerpoint/2010/main" val="4103666539"/>
              </p:ext>
            </p:extLst>
          </p:nvPr>
        </p:nvGraphicFramePr>
        <p:xfrm>
          <a:off x="1677988" y="5664200"/>
          <a:ext cx="2924175" cy="917575"/>
        </p:xfrm>
        <a:graphic>
          <a:graphicData uri="http://schemas.openxmlformats.org/presentationml/2006/ole">
            <mc:AlternateContent xmlns:mc="http://schemas.openxmlformats.org/markup-compatibility/2006">
              <mc:Choice xmlns:v="urn:schemas-microsoft-com:vml" Requires="v">
                <p:oleObj name="Packager Shell Object" showAsIcon="1" r:id="rId2" imgW="1231920" imgH="387000" progId="Package">
                  <p:embed/>
                </p:oleObj>
              </mc:Choice>
              <mc:Fallback>
                <p:oleObj name="Packager Shell Object" showAsIcon="1" r:id="rId2" imgW="1231920" imgH="387000" progId="Package">
                  <p:embed/>
                  <p:pic>
                    <p:nvPicPr>
                      <p:cNvPr id="6" name="Object 5">
                        <a:extLst>
                          <a:ext uri="{FF2B5EF4-FFF2-40B4-BE49-F238E27FC236}">
                            <a16:creationId xmlns:a16="http://schemas.microsoft.com/office/drawing/2014/main" id="{0C6CABF0-242A-4FC6-A979-2B9510D3A82B}"/>
                          </a:ext>
                        </a:extLst>
                      </p:cNvPr>
                      <p:cNvPicPr/>
                      <p:nvPr/>
                    </p:nvPicPr>
                    <p:blipFill>
                      <a:blip r:embed="rId3"/>
                      <a:stretch>
                        <a:fillRect/>
                      </a:stretch>
                    </p:blipFill>
                    <p:spPr>
                      <a:xfrm>
                        <a:off x="1677988" y="5664200"/>
                        <a:ext cx="2924175" cy="917575"/>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FD38C384-EBC3-4F11-8089-7161316B798C}"/>
              </a:ext>
            </a:extLst>
          </p:cNvPr>
          <p:cNvGraphicFramePr>
            <a:graphicFrameLocks noChangeAspect="1"/>
          </p:cNvGraphicFramePr>
          <p:nvPr>
            <p:extLst>
              <p:ext uri="{D42A27DB-BD31-4B8C-83A1-F6EECF244321}">
                <p14:modId xmlns:p14="http://schemas.microsoft.com/office/powerpoint/2010/main" val="353342253"/>
              </p:ext>
            </p:extLst>
          </p:nvPr>
        </p:nvGraphicFramePr>
        <p:xfrm>
          <a:off x="1679575" y="4287838"/>
          <a:ext cx="2922588" cy="919162"/>
        </p:xfrm>
        <a:graphic>
          <a:graphicData uri="http://schemas.openxmlformats.org/presentationml/2006/ole">
            <mc:AlternateContent xmlns:mc="http://schemas.openxmlformats.org/markup-compatibility/2006">
              <mc:Choice xmlns:v="urn:schemas-microsoft-com:vml" Requires="v">
                <p:oleObj name="Packager Shell Object" showAsIcon="1" r:id="rId4" imgW="1231920" imgH="387000" progId="Package">
                  <p:embed/>
                </p:oleObj>
              </mc:Choice>
              <mc:Fallback>
                <p:oleObj name="Packager Shell Object" showAsIcon="1" r:id="rId4" imgW="1231920" imgH="387000" progId="Package">
                  <p:embed/>
                  <p:pic>
                    <p:nvPicPr>
                      <p:cNvPr id="7" name="Object 6">
                        <a:extLst>
                          <a:ext uri="{FF2B5EF4-FFF2-40B4-BE49-F238E27FC236}">
                            <a16:creationId xmlns:a16="http://schemas.microsoft.com/office/drawing/2014/main" id="{FD38C384-EBC3-4F11-8089-7161316B798C}"/>
                          </a:ext>
                        </a:extLst>
                      </p:cNvPr>
                      <p:cNvPicPr/>
                      <p:nvPr/>
                    </p:nvPicPr>
                    <p:blipFill>
                      <a:blip r:embed="rId5"/>
                      <a:stretch>
                        <a:fillRect/>
                      </a:stretch>
                    </p:blipFill>
                    <p:spPr>
                      <a:xfrm>
                        <a:off x="1679575" y="4287838"/>
                        <a:ext cx="2922588" cy="919162"/>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C497C826-6029-4FA9-87EB-0001823A67CE}"/>
              </a:ext>
            </a:extLst>
          </p:cNvPr>
          <p:cNvSpPr txBox="1"/>
          <p:nvPr/>
        </p:nvSpPr>
        <p:spPr>
          <a:xfrm>
            <a:off x="5362290" y="4516121"/>
            <a:ext cx="1622560"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2100 lines</a:t>
            </a:r>
          </a:p>
        </p:txBody>
      </p:sp>
      <p:sp>
        <p:nvSpPr>
          <p:cNvPr id="9" name="TextBox 8">
            <a:extLst>
              <a:ext uri="{FF2B5EF4-FFF2-40B4-BE49-F238E27FC236}">
                <a16:creationId xmlns:a16="http://schemas.microsoft.com/office/drawing/2014/main" id="{7AE7269C-246D-4530-8443-7C7D82878556}"/>
              </a:ext>
            </a:extLst>
          </p:cNvPr>
          <p:cNvSpPr txBox="1"/>
          <p:nvPr/>
        </p:nvSpPr>
        <p:spPr>
          <a:xfrm>
            <a:off x="5362290" y="5892185"/>
            <a:ext cx="1622560"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1200 lines</a:t>
            </a:r>
          </a:p>
        </p:txBody>
      </p:sp>
      <p:graphicFrame>
        <p:nvGraphicFramePr>
          <p:cNvPr id="3" name="Object 2">
            <a:extLst>
              <a:ext uri="{FF2B5EF4-FFF2-40B4-BE49-F238E27FC236}">
                <a16:creationId xmlns:a16="http://schemas.microsoft.com/office/drawing/2014/main" id="{E07B41A5-BDD7-4663-A8CB-E7BFCA20788F}"/>
              </a:ext>
            </a:extLst>
          </p:cNvPr>
          <p:cNvGraphicFramePr>
            <a:graphicFrameLocks noChangeAspect="1"/>
          </p:cNvGraphicFramePr>
          <p:nvPr>
            <p:extLst>
              <p:ext uri="{D42A27DB-BD31-4B8C-83A1-F6EECF244321}">
                <p14:modId xmlns:p14="http://schemas.microsoft.com/office/powerpoint/2010/main" val="3907785697"/>
              </p:ext>
            </p:extLst>
          </p:nvPr>
        </p:nvGraphicFramePr>
        <p:xfrm>
          <a:off x="1817688" y="1900238"/>
          <a:ext cx="2644775" cy="920750"/>
        </p:xfrm>
        <a:graphic>
          <a:graphicData uri="http://schemas.openxmlformats.org/presentationml/2006/ole">
            <mc:AlternateContent xmlns:mc="http://schemas.openxmlformats.org/markup-compatibility/2006">
              <mc:Choice xmlns:v="urn:schemas-microsoft-com:vml" Requires="v">
                <p:oleObj name="Packager Shell Object" showAsIcon="1" r:id="rId6" imgW="1110240" imgH="387000" progId="Package">
                  <p:embed/>
                </p:oleObj>
              </mc:Choice>
              <mc:Fallback>
                <p:oleObj name="Packager Shell Object" showAsIcon="1" r:id="rId6" imgW="1110240" imgH="387000" progId="Package">
                  <p:embed/>
                  <p:pic>
                    <p:nvPicPr>
                      <p:cNvPr id="3" name="Object 2">
                        <a:extLst>
                          <a:ext uri="{FF2B5EF4-FFF2-40B4-BE49-F238E27FC236}">
                            <a16:creationId xmlns:a16="http://schemas.microsoft.com/office/drawing/2014/main" id="{E07B41A5-BDD7-4663-A8CB-E7BFCA20788F}"/>
                          </a:ext>
                        </a:extLst>
                      </p:cNvPr>
                      <p:cNvPicPr/>
                      <p:nvPr/>
                    </p:nvPicPr>
                    <p:blipFill>
                      <a:blip r:embed="rId7"/>
                      <a:stretch>
                        <a:fillRect/>
                      </a:stretch>
                    </p:blipFill>
                    <p:spPr>
                      <a:xfrm>
                        <a:off x="1817688" y="1900238"/>
                        <a:ext cx="2644775" cy="920750"/>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3E48FAE1-C8C5-4140-BFAD-E460DEC4BE3E}"/>
              </a:ext>
            </a:extLst>
          </p:cNvPr>
          <p:cNvGraphicFramePr>
            <a:graphicFrameLocks noChangeAspect="1"/>
          </p:cNvGraphicFramePr>
          <p:nvPr>
            <p:extLst>
              <p:ext uri="{D42A27DB-BD31-4B8C-83A1-F6EECF244321}">
                <p14:modId xmlns:p14="http://schemas.microsoft.com/office/powerpoint/2010/main" val="346144762"/>
              </p:ext>
            </p:extLst>
          </p:nvPr>
        </p:nvGraphicFramePr>
        <p:xfrm>
          <a:off x="1562100" y="2967038"/>
          <a:ext cx="3157538" cy="923925"/>
        </p:xfrm>
        <a:graphic>
          <a:graphicData uri="http://schemas.openxmlformats.org/presentationml/2006/ole">
            <mc:AlternateContent xmlns:mc="http://schemas.openxmlformats.org/markup-compatibility/2006">
              <mc:Choice xmlns:v="urn:schemas-microsoft-com:vml" Requires="v">
                <p:oleObj name="Packager Shell Object" showAsIcon="1" r:id="rId8" imgW="1325160" imgH="387000" progId="Package">
                  <p:embed/>
                </p:oleObj>
              </mc:Choice>
              <mc:Fallback>
                <p:oleObj name="Packager Shell Object" showAsIcon="1" r:id="rId8" imgW="1325160" imgH="387000" progId="Package">
                  <p:embed/>
                  <p:pic>
                    <p:nvPicPr>
                      <p:cNvPr id="4" name="Object 3">
                        <a:extLst>
                          <a:ext uri="{FF2B5EF4-FFF2-40B4-BE49-F238E27FC236}">
                            <a16:creationId xmlns:a16="http://schemas.microsoft.com/office/drawing/2014/main" id="{3E48FAE1-C8C5-4140-BFAD-E460DEC4BE3E}"/>
                          </a:ext>
                        </a:extLst>
                      </p:cNvPr>
                      <p:cNvPicPr/>
                      <p:nvPr/>
                    </p:nvPicPr>
                    <p:blipFill>
                      <a:blip r:embed="rId9"/>
                      <a:stretch>
                        <a:fillRect/>
                      </a:stretch>
                    </p:blipFill>
                    <p:spPr>
                      <a:xfrm>
                        <a:off x="1562100" y="2967038"/>
                        <a:ext cx="3157538" cy="923925"/>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2E8DF29-0D15-4F9C-A8D2-51B2DE258A65}"/>
              </a:ext>
            </a:extLst>
          </p:cNvPr>
          <p:cNvSpPr txBox="1"/>
          <p:nvPr/>
        </p:nvSpPr>
        <p:spPr>
          <a:xfrm>
            <a:off x="5362290" y="3246305"/>
            <a:ext cx="1353256" cy="461665"/>
          </a:xfrm>
          <a:prstGeom prst="rect">
            <a:avLst/>
          </a:prstGeom>
          <a:noFill/>
        </p:spPr>
        <p:txBody>
          <a:bodyPr wrap="none" rtlCol="0">
            <a:spAutoFit/>
          </a:bodyPr>
          <a:lstStyle/>
          <a:p>
            <a:r>
              <a:rPr lang="en-AU" sz="2400" b="1">
                <a:solidFill>
                  <a:srgbClr val="000000"/>
                </a:solidFill>
                <a:latin typeface="Segoe UI Light" panose="020B0502040204020203" pitchFamily="34" charset="0"/>
                <a:cs typeface="Segoe UI Light" panose="020B0502040204020203" pitchFamily="34" charset="0"/>
              </a:rPr>
              <a:t>~20 </a:t>
            </a:r>
            <a:r>
              <a:rPr lang="en-AU" sz="2400" b="1" dirty="0">
                <a:solidFill>
                  <a:srgbClr val="000000"/>
                </a:solidFill>
                <a:latin typeface="Segoe UI Light" panose="020B0502040204020203" pitchFamily="34" charset="0"/>
                <a:cs typeface="Segoe UI Light" panose="020B0502040204020203" pitchFamily="34" charset="0"/>
              </a:rPr>
              <a:t>lines</a:t>
            </a:r>
          </a:p>
        </p:txBody>
      </p:sp>
      <p:sp>
        <p:nvSpPr>
          <p:cNvPr id="11" name="TextBox 10">
            <a:extLst>
              <a:ext uri="{FF2B5EF4-FFF2-40B4-BE49-F238E27FC236}">
                <a16:creationId xmlns:a16="http://schemas.microsoft.com/office/drawing/2014/main" id="{059A902C-14CE-4C94-A5D6-8F43FEF24364}"/>
              </a:ext>
            </a:extLst>
          </p:cNvPr>
          <p:cNvSpPr txBox="1"/>
          <p:nvPr/>
        </p:nvSpPr>
        <p:spPr>
          <a:xfrm>
            <a:off x="5362290" y="2129300"/>
            <a:ext cx="1353256"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66 lines</a:t>
            </a:r>
          </a:p>
        </p:txBody>
      </p:sp>
    </p:spTree>
    <p:extLst>
      <p:ext uri="{BB962C8B-B14F-4D97-AF65-F5344CB8AC3E}">
        <p14:creationId xmlns:p14="http://schemas.microsoft.com/office/powerpoint/2010/main" val="246681443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D1F24-0E42-4CEB-8F7B-D9267C83299F}"/>
              </a:ext>
            </a:extLst>
          </p:cNvPr>
          <p:cNvSpPr>
            <a:spLocks noGrp="1"/>
          </p:cNvSpPr>
          <p:nvPr>
            <p:ph type="title"/>
          </p:nvPr>
        </p:nvSpPr>
        <p:spPr>
          <a:xfrm>
            <a:off x="585216" y="3035808"/>
            <a:ext cx="9141397" cy="997196"/>
          </a:xfrm>
        </p:spPr>
        <p:txBody>
          <a:bodyPr/>
          <a:lstStyle/>
          <a:p>
            <a:r>
              <a:rPr lang="en-US" dirty="0"/>
              <a:t>Describing the change:</a:t>
            </a:r>
            <a:br>
              <a:rPr lang="en-US" dirty="0"/>
            </a:br>
            <a:r>
              <a:rPr lang="en-US" dirty="0"/>
              <a:t>Solving the configuration data conundrum</a:t>
            </a:r>
          </a:p>
        </p:txBody>
      </p:sp>
    </p:spTree>
    <p:extLst>
      <p:ext uri="{BB962C8B-B14F-4D97-AF65-F5344CB8AC3E}">
        <p14:creationId xmlns:p14="http://schemas.microsoft.com/office/powerpoint/2010/main" val="413971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DB570-38DB-49D3-9D3D-DD0CB0BAE18B}"/>
              </a:ext>
            </a:extLst>
          </p:cNvPr>
          <p:cNvSpPr>
            <a:spLocks noGrp="1"/>
          </p:cNvSpPr>
          <p:nvPr>
            <p:ph type="title"/>
          </p:nvPr>
        </p:nvSpPr>
        <p:spPr>
          <a:xfrm>
            <a:off x="588263" y="457200"/>
            <a:ext cx="11018520" cy="553998"/>
          </a:xfrm>
        </p:spPr>
        <p:txBody>
          <a:bodyPr/>
          <a:lstStyle/>
          <a:p>
            <a:pPr fontAlgn="base"/>
            <a:r>
              <a:rPr lang="en-US" dirty="0"/>
              <a:t>Configuration Data Composition Model</a:t>
            </a:r>
          </a:p>
        </p:txBody>
      </p:sp>
      <p:sp>
        <p:nvSpPr>
          <p:cNvPr id="3" name="Text Placeholder 2">
            <a:extLst>
              <a:ext uri="{FF2B5EF4-FFF2-40B4-BE49-F238E27FC236}">
                <a16:creationId xmlns:a16="http://schemas.microsoft.com/office/drawing/2014/main" id="{104957BD-A3C5-4968-A58A-C82B2EB6B539}"/>
              </a:ext>
            </a:extLst>
          </p:cNvPr>
          <p:cNvSpPr>
            <a:spLocks noGrp="1"/>
          </p:cNvSpPr>
          <p:nvPr>
            <p:ph type="body" sz="quarter" idx="10"/>
          </p:nvPr>
        </p:nvSpPr>
        <p:spPr>
          <a:xfrm>
            <a:off x="586390" y="1434370"/>
            <a:ext cx="11018520" cy="1465016"/>
          </a:xfrm>
        </p:spPr>
        <p:txBody>
          <a:bodyPr/>
          <a:lstStyle/>
          <a:p>
            <a:pPr marL="457200" indent="-457200" fontAlgn="base">
              <a:buFont typeface="Arial" panose="020B0604020202020204" pitchFamily="34" charset="0"/>
              <a:buChar char="•"/>
            </a:pPr>
            <a:r>
              <a:rPr lang="en-US" dirty="0"/>
              <a:t>Structure of Configuration Data must somehow reflect the real world </a:t>
            </a:r>
          </a:p>
          <a:p>
            <a:pPr marL="457200" indent="-457200" fontAlgn="base">
              <a:buFont typeface="Arial" panose="020B0604020202020204" pitchFamily="34" charset="0"/>
              <a:buChar char="•"/>
            </a:pPr>
            <a:r>
              <a:rPr lang="en-US" dirty="0"/>
              <a:t>We need data layers that can be mapped to configurations </a:t>
            </a:r>
          </a:p>
          <a:p>
            <a:pPr marL="457200" indent="-457200" fontAlgn="base">
              <a:buFont typeface="Arial" panose="020B0604020202020204" pitchFamily="34" charset="0"/>
              <a:buChar char="•"/>
            </a:pPr>
            <a:r>
              <a:rPr lang="en-US" dirty="0"/>
              <a:t>Override layers and optional merge </a:t>
            </a:r>
          </a:p>
        </p:txBody>
      </p:sp>
    </p:spTree>
    <p:extLst>
      <p:ext uri="{BB962C8B-B14F-4D97-AF65-F5344CB8AC3E}">
        <p14:creationId xmlns:p14="http://schemas.microsoft.com/office/powerpoint/2010/main" val="295235108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01B4F45E-BA13-48A8-A11D-7F303BDCD1D6}"/>
              </a:ext>
            </a:extLst>
          </p:cNvPr>
          <p:cNvGraphicFramePr/>
          <p:nvPr>
            <p:extLst>
              <p:ext uri="{D42A27DB-BD31-4B8C-83A1-F6EECF244321}">
                <p14:modId xmlns:p14="http://schemas.microsoft.com/office/powerpoint/2010/main" val="3757063244"/>
              </p:ext>
            </p:extLst>
          </p:nvPr>
        </p:nvGraphicFramePr>
        <p:xfrm>
          <a:off x="777023" y="1779715"/>
          <a:ext cx="5839510" cy="42642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F15C7628-8681-41AE-8C70-56B128813C66}"/>
              </a:ext>
            </a:extLst>
          </p:cNvPr>
          <p:cNvSpPr>
            <a:spLocks noGrp="1"/>
          </p:cNvSpPr>
          <p:nvPr>
            <p:ph type="title"/>
          </p:nvPr>
        </p:nvSpPr>
        <p:spPr>
          <a:xfrm>
            <a:off x="588263" y="457200"/>
            <a:ext cx="11018520" cy="553998"/>
          </a:xfrm>
        </p:spPr>
        <p:txBody>
          <a:bodyPr/>
          <a:lstStyle/>
          <a:p>
            <a:r>
              <a:rPr lang="en-US" dirty="0"/>
              <a:t>Override layers and optional merge</a:t>
            </a:r>
          </a:p>
        </p:txBody>
      </p:sp>
      <p:sp>
        <p:nvSpPr>
          <p:cNvPr id="9" name="TextBox 8">
            <a:extLst>
              <a:ext uri="{FF2B5EF4-FFF2-40B4-BE49-F238E27FC236}">
                <a16:creationId xmlns:a16="http://schemas.microsoft.com/office/drawing/2014/main" id="{38BCB2BB-3A15-416B-89BF-A457A42E15E5}"/>
              </a:ext>
            </a:extLst>
          </p:cNvPr>
          <p:cNvSpPr txBox="1"/>
          <p:nvPr/>
        </p:nvSpPr>
        <p:spPr>
          <a:xfrm>
            <a:off x="6046736" y="1011198"/>
            <a:ext cx="6145264" cy="523220"/>
          </a:xfrm>
          <a:prstGeom prst="rect">
            <a:avLst/>
          </a:prstGeom>
          <a:noFill/>
        </p:spPr>
        <p:txBody>
          <a:bodyPr wrap="square" rtlCol="0">
            <a:spAutoFit/>
          </a:bodyPr>
          <a:lstStyle/>
          <a:p>
            <a:r>
              <a:rPr lang="en-GB" sz="2800" i="1" dirty="0"/>
              <a:t>Lookup value for ‘</a:t>
            </a:r>
            <a:r>
              <a:rPr lang="en-GB" sz="2800" i="1" dirty="0" err="1"/>
              <a:t>SoftwarePackages</a:t>
            </a:r>
            <a:r>
              <a:rPr lang="en-GB" sz="2800" i="1" dirty="0"/>
              <a:t>’</a:t>
            </a:r>
          </a:p>
        </p:txBody>
      </p:sp>
      <p:sp>
        <p:nvSpPr>
          <p:cNvPr id="10" name="TextBox 9">
            <a:extLst>
              <a:ext uri="{FF2B5EF4-FFF2-40B4-BE49-F238E27FC236}">
                <a16:creationId xmlns:a16="http://schemas.microsoft.com/office/drawing/2014/main" id="{691ED13B-6614-4A42-A764-B3126BC0DAE0}"/>
              </a:ext>
            </a:extLst>
          </p:cNvPr>
          <p:cNvSpPr txBox="1"/>
          <p:nvPr/>
        </p:nvSpPr>
        <p:spPr>
          <a:xfrm>
            <a:off x="4665492" y="2020806"/>
            <a:ext cx="6621060" cy="523220"/>
          </a:xfrm>
          <a:prstGeom prst="rect">
            <a:avLst/>
          </a:prstGeom>
          <a:noFill/>
        </p:spPr>
        <p:txBody>
          <a:bodyPr wrap="square" rtlCol="0">
            <a:spAutoFit/>
          </a:bodyPr>
          <a:lstStyle/>
          <a:p>
            <a:r>
              <a:rPr lang="en-GB" sz="2800" i="1" dirty="0"/>
              <a:t>Is it defined in the Node?</a:t>
            </a:r>
          </a:p>
        </p:txBody>
      </p:sp>
      <p:sp>
        <p:nvSpPr>
          <p:cNvPr id="11" name="TextBox 10">
            <a:extLst>
              <a:ext uri="{FF2B5EF4-FFF2-40B4-BE49-F238E27FC236}">
                <a16:creationId xmlns:a16="http://schemas.microsoft.com/office/drawing/2014/main" id="{08C20D42-1D57-4D94-84EF-D4DCDCF4467A}"/>
              </a:ext>
            </a:extLst>
          </p:cNvPr>
          <p:cNvSpPr txBox="1"/>
          <p:nvPr/>
        </p:nvSpPr>
        <p:spPr>
          <a:xfrm>
            <a:off x="5164285" y="2761165"/>
            <a:ext cx="6468660" cy="523220"/>
          </a:xfrm>
          <a:prstGeom prst="rect">
            <a:avLst/>
          </a:prstGeom>
          <a:noFill/>
        </p:spPr>
        <p:txBody>
          <a:bodyPr wrap="square" rtlCol="0">
            <a:spAutoFit/>
          </a:bodyPr>
          <a:lstStyle/>
          <a:p>
            <a:r>
              <a:rPr lang="en-GB" sz="2800" i="1" dirty="0"/>
              <a:t>Is it defined with the Nodes’ Location?</a:t>
            </a:r>
          </a:p>
        </p:txBody>
      </p:sp>
      <p:sp>
        <p:nvSpPr>
          <p:cNvPr id="12" name="TextBox 11">
            <a:extLst>
              <a:ext uri="{FF2B5EF4-FFF2-40B4-BE49-F238E27FC236}">
                <a16:creationId xmlns:a16="http://schemas.microsoft.com/office/drawing/2014/main" id="{452C6BEB-5150-40F6-9A48-ACB2F94D92BE}"/>
              </a:ext>
            </a:extLst>
          </p:cNvPr>
          <p:cNvSpPr txBox="1"/>
          <p:nvPr/>
        </p:nvSpPr>
        <p:spPr>
          <a:xfrm>
            <a:off x="5575469" y="3595106"/>
            <a:ext cx="5991672" cy="523220"/>
          </a:xfrm>
          <a:prstGeom prst="rect">
            <a:avLst/>
          </a:prstGeom>
          <a:noFill/>
        </p:spPr>
        <p:txBody>
          <a:bodyPr wrap="square" rtlCol="0">
            <a:spAutoFit/>
          </a:bodyPr>
          <a:lstStyle/>
          <a:p>
            <a:r>
              <a:rPr lang="en-GB" sz="2800" i="1" dirty="0"/>
              <a:t>Is it in the Nodes’ Environment?</a:t>
            </a:r>
          </a:p>
        </p:txBody>
      </p:sp>
      <p:sp>
        <p:nvSpPr>
          <p:cNvPr id="13" name="TextBox 12">
            <a:extLst>
              <a:ext uri="{FF2B5EF4-FFF2-40B4-BE49-F238E27FC236}">
                <a16:creationId xmlns:a16="http://schemas.microsoft.com/office/drawing/2014/main" id="{A316332F-316B-44DD-84E4-BDF0B2FEFEFB}"/>
              </a:ext>
            </a:extLst>
          </p:cNvPr>
          <p:cNvSpPr txBox="1"/>
          <p:nvPr/>
        </p:nvSpPr>
        <p:spPr>
          <a:xfrm>
            <a:off x="6106927" y="4456328"/>
            <a:ext cx="5689231" cy="523220"/>
          </a:xfrm>
          <a:prstGeom prst="rect">
            <a:avLst/>
          </a:prstGeom>
          <a:noFill/>
        </p:spPr>
        <p:txBody>
          <a:bodyPr wrap="square" rtlCol="0">
            <a:spAutoFit/>
          </a:bodyPr>
          <a:lstStyle/>
          <a:p>
            <a:r>
              <a:rPr lang="en-GB" sz="2800" i="1" dirty="0"/>
              <a:t>Is it for all Nodes of that role?</a:t>
            </a:r>
          </a:p>
        </p:txBody>
      </p:sp>
      <p:pic>
        <p:nvPicPr>
          <p:cNvPr id="14" name="Graphic 13" descr="Cow">
            <a:extLst>
              <a:ext uri="{FF2B5EF4-FFF2-40B4-BE49-F238E27FC236}">
                <a16:creationId xmlns:a16="http://schemas.microsoft.com/office/drawing/2014/main" id="{CBA14111-59FA-4AE0-9522-42A73811B9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06955" y="5104667"/>
            <a:ext cx="1068514" cy="1068514"/>
          </a:xfrm>
          <a:prstGeom prst="rect">
            <a:avLst/>
          </a:prstGeom>
        </p:spPr>
      </p:pic>
      <p:pic>
        <p:nvPicPr>
          <p:cNvPr id="15" name="Graphic 14" descr="Cat">
            <a:extLst>
              <a:ext uri="{FF2B5EF4-FFF2-40B4-BE49-F238E27FC236}">
                <a16:creationId xmlns:a16="http://schemas.microsoft.com/office/drawing/2014/main" id="{81EE308F-1D66-44BD-96C7-A40B26F465D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71773" y="1180103"/>
            <a:ext cx="1042458" cy="1042458"/>
          </a:xfrm>
          <a:prstGeom prst="rect">
            <a:avLst/>
          </a:prstGeom>
        </p:spPr>
      </p:pic>
      <p:pic>
        <p:nvPicPr>
          <p:cNvPr id="16" name="Graphic 15" descr="Dog">
            <a:extLst>
              <a:ext uri="{FF2B5EF4-FFF2-40B4-BE49-F238E27FC236}">
                <a16:creationId xmlns:a16="http://schemas.microsoft.com/office/drawing/2014/main" id="{5BF3B0BF-BB88-4FB6-ACD7-7EF647D3E5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3411251" y="1047642"/>
            <a:ext cx="1140823" cy="1140823"/>
          </a:xfrm>
          <a:prstGeom prst="rect">
            <a:avLst/>
          </a:prstGeom>
        </p:spPr>
      </p:pic>
      <p:pic>
        <p:nvPicPr>
          <p:cNvPr id="17" name="Graphic 16" descr="Cow">
            <a:extLst>
              <a:ext uri="{FF2B5EF4-FFF2-40B4-BE49-F238E27FC236}">
                <a16:creationId xmlns:a16="http://schemas.microsoft.com/office/drawing/2014/main" id="{667E0966-FA56-471F-9BB4-1A877C7E78B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59355" y="5257067"/>
            <a:ext cx="1068514" cy="1068514"/>
          </a:xfrm>
          <a:prstGeom prst="rect">
            <a:avLst/>
          </a:prstGeom>
        </p:spPr>
      </p:pic>
      <p:pic>
        <p:nvPicPr>
          <p:cNvPr id="18" name="Graphic 17" descr="Cow">
            <a:extLst>
              <a:ext uri="{FF2B5EF4-FFF2-40B4-BE49-F238E27FC236}">
                <a16:creationId xmlns:a16="http://schemas.microsoft.com/office/drawing/2014/main" id="{97C5ECE7-892D-4180-A66C-2273E0CB0B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51083" y="5705225"/>
            <a:ext cx="1068514" cy="1068514"/>
          </a:xfrm>
          <a:prstGeom prst="rect">
            <a:avLst/>
          </a:prstGeom>
        </p:spPr>
      </p:pic>
      <p:pic>
        <p:nvPicPr>
          <p:cNvPr id="19" name="Graphic 18" descr="Cow">
            <a:extLst>
              <a:ext uri="{FF2B5EF4-FFF2-40B4-BE49-F238E27FC236}">
                <a16:creationId xmlns:a16="http://schemas.microsoft.com/office/drawing/2014/main" id="{43318DFC-9503-46CE-B5B2-841218FE6DE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95276" y="5633413"/>
            <a:ext cx="1068514" cy="1068514"/>
          </a:xfrm>
          <a:prstGeom prst="rect">
            <a:avLst/>
          </a:prstGeom>
        </p:spPr>
      </p:pic>
      <p:pic>
        <p:nvPicPr>
          <p:cNvPr id="20" name="Graphic 19" descr="Cow">
            <a:extLst>
              <a:ext uri="{FF2B5EF4-FFF2-40B4-BE49-F238E27FC236}">
                <a16:creationId xmlns:a16="http://schemas.microsoft.com/office/drawing/2014/main" id="{E93CBACB-92B7-46B0-9485-11E240D226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29892" y="5863923"/>
            <a:ext cx="1068514" cy="1068514"/>
          </a:xfrm>
          <a:prstGeom prst="rect">
            <a:avLst/>
          </a:prstGeom>
        </p:spPr>
      </p:pic>
      <p:sp>
        <p:nvSpPr>
          <p:cNvPr id="24" name="TextBox 23">
            <a:extLst>
              <a:ext uri="{FF2B5EF4-FFF2-40B4-BE49-F238E27FC236}">
                <a16:creationId xmlns:a16="http://schemas.microsoft.com/office/drawing/2014/main" id="{2CDD1079-BBE5-4F09-AC31-E79146522AE9}"/>
              </a:ext>
            </a:extLst>
          </p:cNvPr>
          <p:cNvSpPr txBox="1"/>
          <p:nvPr/>
        </p:nvSpPr>
        <p:spPr>
          <a:xfrm>
            <a:off x="6659698" y="5317550"/>
            <a:ext cx="5689231" cy="523220"/>
          </a:xfrm>
          <a:prstGeom prst="rect">
            <a:avLst/>
          </a:prstGeom>
          <a:noFill/>
        </p:spPr>
        <p:txBody>
          <a:bodyPr wrap="square" rtlCol="0">
            <a:spAutoFit/>
          </a:bodyPr>
          <a:lstStyle/>
          <a:p>
            <a:r>
              <a:rPr lang="en-GB" sz="2800" i="1" dirty="0"/>
              <a:t>Is it for all Nodes?</a:t>
            </a:r>
          </a:p>
        </p:txBody>
      </p:sp>
    </p:spTree>
    <p:extLst>
      <p:ext uri="{BB962C8B-B14F-4D97-AF65-F5344CB8AC3E}">
        <p14:creationId xmlns:p14="http://schemas.microsoft.com/office/powerpoint/2010/main" val="1070128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80">
                                          <p:stCondLst>
                                            <p:cond delay="0"/>
                                          </p:stCondLst>
                                        </p:cTn>
                                        <p:tgtEl>
                                          <p:spTgt spid="14"/>
                                        </p:tgtEl>
                                      </p:cBhvr>
                                    </p:animEffect>
                                    <p:anim calcmode="lin" valueType="num">
                                      <p:cBhvr>
                                        <p:cTn id="8"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13" dur="26">
                                          <p:stCondLst>
                                            <p:cond delay="650"/>
                                          </p:stCondLst>
                                        </p:cTn>
                                        <p:tgtEl>
                                          <p:spTgt spid="14"/>
                                        </p:tgtEl>
                                      </p:cBhvr>
                                      <p:to x="100000" y="60000"/>
                                    </p:animScale>
                                    <p:animScale>
                                      <p:cBhvr>
                                        <p:cTn id="14" dur="166" decel="50000">
                                          <p:stCondLst>
                                            <p:cond delay="676"/>
                                          </p:stCondLst>
                                        </p:cTn>
                                        <p:tgtEl>
                                          <p:spTgt spid="14"/>
                                        </p:tgtEl>
                                      </p:cBhvr>
                                      <p:to x="100000" y="100000"/>
                                    </p:animScale>
                                    <p:animScale>
                                      <p:cBhvr>
                                        <p:cTn id="15" dur="26">
                                          <p:stCondLst>
                                            <p:cond delay="1312"/>
                                          </p:stCondLst>
                                        </p:cTn>
                                        <p:tgtEl>
                                          <p:spTgt spid="14"/>
                                        </p:tgtEl>
                                      </p:cBhvr>
                                      <p:to x="100000" y="80000"/>
                                    </p:animScale>
                                    <p:animScale>
                                      <p:cBhvr>
                                        <p:cTn id="16" dur="166" decel="50000">
                                          <p:stCondLst>
                                            <p:cond delay="1338"/>
                                          </p:stCondLst>
                                        </p:cTn>
                                        <p:tgtEl>
                                          <p:spTgt spid="14"/>
                                        </p:tgtEl>
                                      </p:cBhvr>
                                      <p:to x="100000" y="100000"/>
                                    </p:animScale>
                                    <p:animScale>
                                      <p:cBhvr>
                                        <p:cTn id="17" dur="26">
                                          <p:stCondLst>
                                            <p:cond delay="1642"/>
                                          </p:stCondLst>
                                        </p:cTn>
                                        <p:tgtEl>
                                          <p:spTgt spid="14"/>
                                        </p:tgtEl>
                                      </p:cBhvr>
                                      <p:to x="100000" y="90000"/>
                                    </p:animScale>
                                    <p:animScale>
                                      <p:cBhvr>
                                        <p:cTn id="18" dur="166" decel="50000">
                                          <p:stCondLst>
                                            <p:cond delay="1668"/>
                                          </p:stCondLst>
                                        </p:cTn>
                                        <p:tgtEl>
                                          <p:spTgt spid="14"/>
                                        </p:tgtEl>
                                      </p:cBhvr>
                                      <p:to x="100000" y="100000"/>
                                    </p:animScale>
                                    <p:animScale>
                                      <p:cBhvr>
                                        <p:cTn id="19" dur="26">
                                          <p:stCondLst>
                                            <p:cond delay="1808"/>
                                          </p:stCondLst>
                                        </p:cTn>
                                        <p:tgtEl>
                                          <p:spTgt spid="14"/>
                                        </p:tgtEl>
                                      </p:cBhvr>
                                      <p:to x="100000" y="95000"/>
                                    </p:animScale>
                                    <p:animScale>
                                      <p:cBhvr>
                                        <p:cTn id="20" dur="166" decel="50000">
                                          <p:stCondLst>
                                            <p:cond delay="1834"/>
                                          </p:stCondLst>
                                        </p:cTn>
                                        <p:tgtEl>
                                          <p:spTgt spid="14"/>
                                        </p:tgtEl>
                                      </p:cBhvr>
                                      <p:to x="100000" y="100000"/>
                                    </p:animScale>
                                  </p:childTnLst>
                                </p:cTn>
                              </p:par>
                              <p:par>
                                <p:cTn id="21" presetID="26" presetClass="entr" presetSubtype="0" fill="hold" nodeType="withEffect">
                                  <p:stCondLst>
                                    <p:cond delay="1000"/>
                                  </p:stCondLst>
                                  <p:childTnLst>
                                    <p:set>
                                      <p:cBhvr>
                                        <p:cTn id="22" dur="1" fill="hold">
                                          <p:stCondLst>
                                            <p:cond delay="0"/>
                                          </p:stCondLst>
                                        </p:cTn>
                                        <p:tgtEl>
                                          <p:spTgt spid="17"/>
                                        </p:tgtEl>
                                        <p:attrNameLst>
                                          <p:attrName>style.visibility</p:attrName>
                                        </p:attrNameLst>
                                      </p:cBhvr>
                                      <p:to>
                                        <p:strVal val="visible"/>
                                      </p:to>
                                    </p:set>
                                    <p:animEffect transition="in" filter="wipe(down)">
                                      <p:cBhvr>
                                        <p:cTn id="23" dur="580">
                                          <p:stCondLst>
                                            <p:cond delay="0"/>
                                          </p:stCondLst>
                                        </p:cTn>
                                        <p:tgtEl>
                                          <p:spTgt spid="17"/>
                                        </p:tgtEl>
                                      </p:cBhvr>
                                    </p:animEffect>
                                    <p:anim calcmode="lin" valueType="num">
                                      <p:cBhvr>
                                        <p:cTn id="24" dur="1822"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17"/>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17"/>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17"/>
                                        </p:tgtEl>
                                        <p:attrNameLst>
                                          <p:attrName>ppt_y</p:attrName>
                                        </p:attrNameLst>
                                      </p:cBhvr>
                                      <p:tavLst>
                                        <p:tav tm="0" fmla="#ppt_y-sin(pi*$)/81">
                                          <p:val>
                                            <p:fltVal val="0"/>
                                          </p:val>
                                        </p:tav>
                                        <p:tav tm="100000">
                                          <p:val>
                                            <p:fltVal val="1"/>
                                          </p:val>
                                        </p:tav>
                                      </p:tavLst>
                                    </p:anim>
                                    <p:animScale>
                                      <p:cBhvr>
                                        <p:cTn id="29" dur="26">
                                          <p:stCondLst>
                                            <p:cond delay="650"/>
                                          </p:stCondLst>
                                        </p:cTn>
                                        <p:tgtEl>
                                          <p:spTgt spid="17"/>
                                        </p:tgtEl>
                                      </p:cBhvr>
                                      <p:to x="100000" y="60000"/>
                                    </p:animScale>
                                    <p:animScale>
                                      <p:cBhvr>
                                        <p:cTn id="30" dur="166" decel="50000">
                                          <p:stCondLst>
                                            <p:cond delay="676"/>
                                          </p:stCondLst>
                                        </p:cTn>
                                        <p:tgtEl>
                                          <p:spTgt spid="17"/>
                                        </p:tgtEl>
                                      </p:cBhvr>
                                      <p:to x="100000" y="100000"/>
                                    </p:animScale>
                                    <p:animScale>
                                      <p:cBhvr>
                                        <p:cTn id="31" dur="26">
                                          <p:stCondLst>
                                            <p:cond delay="1312"/>
                                          </p:stCondLst>
                                        </p:cTn>
                                        <p:tgtEl>
                                          <p:spTgt spid="17"/>
                                        </p:tgtEl>
                                      </p:cBhvr>
                                      <p:to x="100000" y="80000"/>
                                    </p:animScale>
                                    <p:animScale>
                                      <p:cBhvr>
                                        <p:cTn id="32" dur="166" decel="50000">
                                          <p:stCondLst>
                                            <p:cond delay="1338"/>
                                          </p:stCondLst>
                                        </p:cTn>
                                        <p:tgtEl>
                                          <p:spTgt spid="17"/>
                                        </p:tgtEl>
                                      </p:cBhvr>
                                      <p:to x="100000" y="100000"/>
                                    </p:animScale>
                                    <p:animScale>
                                      <p:cBhvr>
                                        <p:cTn id="33" dur="26">
                                          <p:stCondLst>
                                            <p:cond delay="1642"/>
                                          </p:stCondLst>
                                        </p:cTn>
                                        <p:tgtEl>
                                          <p:spTgt spid="17"/>
                                        </p:tgtEl>
                                      </p:cBhvr>
                                      <p:to x="100000" y="90000"/>
                                    </p:animScale>
                                    <p:animScale>
                                      <p:cBhvr>
                                        <p:cTn id="34" dur="166" decel="50000">
                                          <p:stCondLst>
                                            <p:cond delay="1668"/>
                                          </p:stCondLst>
                                        </p:cTn>
                                        <p:tgtEl>
                                          <p:spTgt spid="17"/>
                                        </p:tgtEl>
                                      </p:cBhvr>
                                      <p:to x="100000" y="100000"/>
                                    </p:animScale>
                                    <p:animScale>
                                      <p:cBhvr>
                                        <p:cTn id="35" dur="26">
                                          <p:stCondLst>
                                            <p:cond delay="1808"/>
                                          </p:stCondLst>
                                        </p:cTn>
                                        <p:tgtEl>
                                          <p:spTgt spid="17"/>
                                        </p:tgtEl>
                                      </p:cBhvr>
                                      <p:to x="100000" y="95000"/>
                                    </p:animScale>
                                    <p:animScale>
                                      <p:cBhvr>
                                        <p:cTn id="36" dur="166" decel="50000">
                                          <p:stCondLst>
                                            <p:cond delay="1834"/>
                                          </p:stCondLst>
                                        </p:cTn>
                                        <p:tgtEl>
                                          <p:spTgt spid="17"/>
                                        </p:tgtEl>
                                      </p:cBhvr>
                                      <p:to x="100000" y="100000"/>
                                    </p:animScale>
                                  </p:childTnLst>
                                </p:cTn>
                              </p:par>
                              <p:par>
                                <p:cTn id="37" presetID="26" presetClass="entr" presetSubtype="0" fill="hold" nodeType="withEffect">
                                  <p:stCondLst>
                                    <p:cond delay="500"/>
                                  </p:stCondLst>
                                  <p:childTnLst>
                                    <p:set>
                                      <p:cBhvr>
                                        <p:cTn id="38" dur="1" fill="hold">
                                          <p:stCondLst>
                                            <p:cond delay="0"/>
                                          </p:stCondLst>
                                        </p:cTn>
                                        <p:tgtEl>
                                          <p:spTgt spid="18"/>
                                        </p:tgtEl>
                                        <p:attrNameLst>
                                          <p:attrName>style.visibility</p:attrName>
                                        </p:attrNameLst>
                                      </p:cBhvr>
                                      <p:to>
                                        <p:strVal val="visible"/>
                                      </p:to>
                                    </p:set>
                                    <p:animEffect transition="in" filter="wipe(down)">
                                      <p:cBhvr>
                                        <p:cTn id="39" dur="580">
                                          <p:stCondLst>
                                            <p:cond delay="0"/>
                                          </p:stCondLst>
                                        </p:cTn>
                                        <p:tgtEl>
                                          <p:spTgt spid="18"/>
                                        </p:tgtEl>
                                      </p:cBhvr>
                                    </p:animEffect>
                                    <p:anim calcmode="lin" valueType="num">
                                      <p:cBhvr>
                                        <p:cTn id="40" dur="1822" tmFilter="0,0; 0.14,0.36; 0.43,0.73; 0.71,0.91; 1.0,1.0">
                                          <p:stCondLst>
                                            <p:cond delay="0"/>
                                          </p:stCondLst>
                                        </p:cTn>
                                        <p:tgtEl>
                                          <p:spTgt spid="18"/>
                                        </p:tgtEl>
                                        <p:attrNameLst>
                                          <p:attrName>ppt_x</p:attrName>
                                        </p:attrNameLst>
                                      </p:cBhvr>
                                      <p:tavLst>
                                        <p:tav tm="0">
                                          <p:val>
                                            <p:strVal val="#ppt_x-0.25"/>
                                          </p:val>
                                        </p:tav>
                                        <p:tav tm="100000">
                                          <p:val>
                                            <p:strVal val="#ppt_x"/>
                                          </p:val>
                                        </p:tav>
                                      </p:tavLst>
                                    </p:anim>
                                    <p:anim calcmode="lin" valueType="num">
                                      <p:cBhvr>
                                        <p:cTn id="41" dur="664" tmFilter="0.0,0.0; 0.25,0.07; 0.50,0.2; 0.75,0.467; 1.0,1.0">
                                          <p:stCondLst>
                                            <p:cond delay="0"/>
                                          </p:stCondLst>
                                        </p:cTn>
                                        <p:tgtEl>
                                          <p:spTgt spid="18"/>
                                        </p:tgtEl>
                                        <p:attrNameLst>
                                          <p:attrName>ppt_y</p:attrName>
                                        </p:attrNameLst>
                                      </p:cBhvr>
                                      <p:tavLst>
                                        <p:tav tm="0" fmla="#ppt_y-sin(pi*$)/3">
                                          <p:val>
                                            <p:fltVal val="0.5"/>
                                          </p:val>
                                        </p:tav>
                                        <p:tav tm="100000">
                                          <p:val>
                                            <p:fltVal val="1"/>
                                          </p:val>
                                        </p:tav>
                                      </p:tavLst>
                                    </p:anim>
                                    <p:anim calcmode="lin" valueType="num">
                                      <p:cBhvr>
                                        <p:cTn id="42" dur="664" tmFilter="0, 0; 0.125,0.2665; 0.25,0.4; 0.375,0.465; 0.5,0.5;  0.625,0.535; 0.75,0.6; 0.875,0.7335; 1,1">
                                          <p:stCondLst>
                                            <p:cond delay="664"/>
                                          </p:stCondLst>
                                        </p:cTn>
                                        <p:tgtEl>
                                          <p:spTgt spid="18"/>
                                        </p:tgtEl>
                                        <p:attrNameLst>
                                          <p:attrName>ppt_y</p:attrName>
                                        </p:attrNameLst>
                                      </p:cBhvr>
                                      <p:tavLst>
                                        <p:tav tm="0" fmla="#ppt_y-sin(pi*$)/9">
                                          <p:val>
                                            <p:fltVal val="0"/>
                                          </p:val>
                                        </p:tav>
                                        <p:tav tm="100000">
                                          <p:val>
                                            <p:fltVal val="1"/>
                                          </p:val>
                                        </p:tav>
                                      </p:tavLst>
                                    </p:anim>
                                    <p:anim calcmode="lin" valueType="num">
                                      <p:cBhvr>
                                        <p:cTn id="43" dur="332" tmFilter="0, 0; 0.125,0.2665; 0.25,0.4; 0.375,0.465; 0.5,0.5;  0.625,0.535; 0.75,0.6; 0.875,0.7335; 1,1">
                                          <p:stCondLst>
                                            <p:cond delay="1324"/>
                                          </p:stCondLst>
                                        </p:cTn>
                                        <p:tgtEl>
                                          <p:spTgt spid="18"/>
                                        </p:tgtEl>
                                        <p:attrNameLst>
                                          <p:attrName>ppt_y</p:attrName>
                                        </p:attrNameLst>
                                      </p:cBhvr>
                                      <p:tavLst>
                                        <p:tav tm="0" fmla="#ppt_y-sin(pi*$)/27">
                                          <p:val>
                                            <p:fltVal val="0"/>
                                          </p:val>
                                        </p:tav>
                                        <p:tav tm="100000">
                                          <p:val>
                                            <p:fltVal val="1"/>
                                          </p:val>
                                        </p:tav>
                                      </p:tavLst>
                                    </p:anim>
                                    <p:anim calcmode="lin" valueType="num">
                                      <p:cBhvr>
                                        <p:cTn id="44" dur="164" tmFilter="0, 0; 0.125,0.2665; 0.25,0.4; 0.375,0.465; 0.5,0.5;  0.625,0.535; 0.75,0.6; 0.875,0.7335; 1,1">
                                          <p:stCondLst>
                                            <p:cond delay="1656"/>
                                          </p:stCondLst>
                                        </p:cTn>
                                        <p:tgtEl>
                                          <p:spTgt spid="18"/>
                                        </p:tgtEl>
                                        <p:attrNameLst>
                                          <p:attrName>ppt_y</p:attrName>
                                        </p:attrNameLst>
                                      </p:cBhvr>
                                      <p:tavLst>
                                        <p:tav tm="0" fmla="#ppt_y-sin(pi*$)/81">
                                          <p:val>
                                            <p:fltVal val="0"/>
                                          </p:val>
                                        </p:tav>
                                        <p:tav tm="100000">
                                          <p:val>
                                            <p:fltVal val="1"/>
                                          </p:val>
                                        </p:tav>
                                      </p:tavLst>
                                    </p:anim>
                                    <p:animScale>
                                      <p:cBhvr>
                                        <p:cTn id="45" dur="26">
                                          <p:stCondLst>
                                            <p:cond delay="650"/>
                                          </p:stCondLst>
                                        </p:cTn>
                                        <p:tgtEl>
                                          <p:spTgt spid="18"/>
                                        </p:tgtEl>
                                      </p:cBhvr>
                                      <p:to x="100000" y="60000"/>
                                    </p:animScale>
                                    <p:animScale>
                                      <p:cBhvr>
                                        <p:cTn id="46" dur="166" decel="50000">
                                          <p:stCondLst>
                                            <p:cond delay="676"/>
                                          </p:stCondLst>
                                        </p:cTn>
                                        <p:tgtEl>
                                          <p:spTgt spid="18"/>
                                        </p:tgtEl>
                                      </p:cBhvr>
                                      <p:to x="100000" y="100000"/>
                                    </p:animScale>
                                    <p:animScale>
                                      <p:cBhvr>
                                        <p:cTn id="47" dur="26">
                                          <p:stCondLst>
                                            <p:cond delay="1312"/>
                                          </p:stCondLst>
                                        </p:cTn>
                                        <p:tgtEl>
                                          <p:spTgt spid="18"/>
                                        </p:tgtEl>
                                      </p:cBhvr>
                                      <p:to x="100000" y="80000"/>
                                    </p:animScale>
                                    <p:animScale>
                                      <p:cBhvr>
                                        <p:cTn id="48" dur="166" decel="50000">
                                          <p:stCondLst>
                                            <p:cond delay="1338"/>
                                          </p:stCondLst>
                                        </p:cTn>
                                        <p:tgtEl>
                                          <p:spTgt spid="18"/>
                                        </p:tgtEl>
                                      </p:cBhvr>
                                      <p:to x="100000" y="100000"/>
                                    </p:animScale>
                                    <p:animScale>
                                      <p:cBhvr>
                                        <p:cTn id="49" dur="26">
                                          <p:stCondLst>
                                            <p:cond delay="1642"/>
                                          </p:stCondLst>
                                        </p:cTn>
                                        <p:tgtEl>
                                          <p:spTgt spid="18"/>
                                        </p:tgtEl>
                                      </p:cBhvr>
                                      <p:to x="100000" y="90000"/>
                                    </p:animScale>
                                    <p:animScale>
                                      <p:cBhvr>
                                        <p:cTn id="50" dur="166" decel="50000">
                                          <p:stCondLst>
                                            <p:cond delay="1668"/>
                                          </p:stCondLst>
                                        </p:cTn>
                                        <p:tgtEl>
                                          <p:spTgt spid="18"/>
                                        </p:tgtEl>
                                      </p:cBhvr>
                                      <p:to x="100000" y="100000"/>
                                    </p:animScale>
                                    <p:animScale>
                                      <p:cBhvr>
                                        <p:cTn id="51" dur="26">
                                          <p:stCondLst>
                                            <p:cond delay="1808"/>
                                          </p:stCondLst>
                                        </p:cTn>
                                        <p:tgtEl>
                                          <p:spTgt spid="18"/>
                                        </p:tgtEl>
                                      </p:cBhvr>
                                      <p:to x="100000" y="95000"/>
                                    </p:animScale>
                                    <p:animScale>
                                      <p:cBhvr>
                                        <p:cTn id="52" dur="166" decel="50000">
                                          <p:stCondLst>
                                            <p:cond delay="1834"/>
                                          </p:stCondLst>
                                        </p:cTn>
                                        <p:tgtEl>
                                          <p:spTgt spid="18"/>
                                        </p:tgtEl>
                                      </p:cBhvr>
                                      <p:to x="100000" y="100000"/>
                                    </p:animScale>
                                  </p:childTnLst>
                                </p:cTn>
                              </p:par>
                              <p:par>
                                <p:cTn id="53" presetID="26" presetClass="entr" presetSubtype="0" fill="hold" nodeType="withEffect">
                                  <p:stCondLst>
                                    <p:cond delay="1500"/>
                                  </p:stCondLst>
                                  <p:childTnLst>
                                    <p:set>
                                      <p:cBhvr>
                                        <p:cTn id="54" dur="1" fill="hold">
                                          <p:stCondLst>
                                            <p:cond delay="0"/>
                                          </p:stCondLst>
                                        </p:cTn>
                                        <p:tgtEl>
                                          <p:spTgt spid="19"/>
                                        </p:tgtEl>
                                        <p:attrNameLst>
                                          <p:attrName>style.visibility</p:attrName>
                                        </p:attrNameLst>
                                      </p:cBhvr>
                                      <p:to>
                                        <p:strVal val="visible"/>
                                      </p:to>
                                    </p:set>
                                    <p:animEffect transition="in" filter="wipe(down)">
                                      <p:cBhvr>
                                        <p:cTn id="55" dur="580">
                                          <p:stCondLst>
                                            <p:cond delay="0"/>
                                          </p:stCondLst>
                                        </p:cTn>
                                        <p:tgtEl>
                                          <p:spTgt spid="19"/>
                                        </p:tgtEl>
                                      </p:cBhvr>
                                    </p:animEffect>
                                    <p:anim calcmode="lin" valueType="num">
                                      <p:cBhvr>
                                        <p:cTn id="56" dur="1822" tmFilter="0,0; 0.14,0.36; 0.43,0.73; 0.71,0.91; 1.0,1.0">
                                          <p:stCondLst>
                                            <p:cond delay="0"/>
                                          </p:stCondLst>
                                        </p:cTn>
                                        <p:tgtEl>
                                          <p:spTgt spid="19"/>
                                        </p:tgtEl>
                                        <p:attrNameLst>
                                          <p:attrName>ppt_x</p:attrName>
                                        </p:attrNameLst>
                                      </p:cBhvr>
                                      <p:tavLst>
                                        <p:tav tm="0">
                                          <p:val>
                                            <p:strVal val="#ppt_x-0.25"/>
                                          </p:val>
                                        </p:tav>
                                        <p:tav tm="100000">
                                          <p:val>
                                            <p:strVal val="#ppt_x"/>
                                          </p:val>
                                        </p:tav>
                                      </p:tavLst>
                                    </p:anim>
                                    <p:anim calcmode="lin" valueType="num">
                                      <p:cBhvr>
                                        <p:cTn id="57" dur="664" tmFilter="0.0,0.0; 0.25,0.07; 0.50,0.2; 0.75,0.467; 1.0,1.0">
                                          <p:stCondLst>
                                            <p:cond delay="0"/>
                                          </p:stCondLst>
                                        </p:cTn>
                                        <p:tgtEl>
                                          <p:spTgt spid="19"/>
                                        </p:tgtEl>
                                        <p:attrNameLst>
                                          <p:attrName>ppt_y</p:attrName>
                                        </p:attrNameLst>
                                      </p:cBhvr>
                                      <p:tavLst>
                                        <p:tav tm="0" fmla="#ppt_y-sin(pi*$)/3">
                                          <p:val>
                                            <p:fltVal val="0.5"/>
                                          </p:val>
                                        </p:tav>
                                        <p:tav tm="100000">
                                          <p:val>
                                            <p:fltVal val="1"/>
                                          </p:val>
                                        </p:tav>
                                      </p:tavLst>
                                    </p:anim>
                                    <p:anim calcmode="lin" valueType="num">
                                      <p:cBhvr>
                                        <p:cTn id="58" dur="664" tmFilter="0, 0; 0.125,0.2665; 0.25,0.4; 0.375,0.465; 0.5,0.5;  0.625,0.535; 0.75,0.6; 0.875,0.7335; 1,1">
                                          <p:stCondLst>
                                            <p:cond delay="664"/>
                                          </p:stCondLst>
                                        </p:cTn>
                                        <p:tgtEl>
                                          <p:spTgt spid="19"/>
                                        </p:tgtEl>
                                        <p:attrNameLst>
                                          <p:attrName>ppt_y</p:attrName>
                                        </p:attrNameLst>
                                      </p:cBhvr>
                                      <p:tavLst>
                                        <p:tav tm="0" fmla="#ppt_y-sin(pi*$)/9">
                                          <p:val>
                                            <p:fltVal val="0"/>
                                          </p:val>
                                        </p:tav>
                                        <p:tav tm="100000">
                                          <p:val>
                                            <p:fltVal val="1"/>
                                          </p:val>
                                        </p:tav>
                                      </p:tavLst>
                                    </p:anim>
                                    <p:anim calcmode="lin" valueType="num">
                                      <p:cBhvr>
                                        <p:cTn id="59" dur="332" tmFilter="0, 0; 0.125,0.2665; 0.25,0.4; 0.375,0.465; 0.5,0.5;  0.625,0.535; 0.75,0.6; 0.875,0.7335; 1,1">
                                          <p:stCondLst>
                                            <p:cond delay="1324"/>
                                          </p:stCondLst>
                                        </p:cTn>
                                        <p:tgtEl>
                                          <p:spTgt spid="19"/>
                                        </p:tgtEl>
                                        <p:attrNameLst>
                                          <p:attrName>ppt_y</p:attrName>
                                        </p:attrNameLst>
                                      </p:cBhvr>
                                      <p:tavLst>
                                        <p:tav tm="0" fmla="#ppt_y-sin(pi*$)/27">
                                          <p:val>
                                            <p:fltVal val="0"/>
                                          </p:val>
                                        </p:tav>
                                        <p:tav tm="100000">
                                          <p:val>
                                            <p:fltVal val="1"/>
                                          </p:val>
                                        </p:tav>
                                      </p:tavLst>
                                    </p:anim>
                                    <p:anim calcmode="lin" valueType="num">
                                      <p:cBhvr>
                                        <p:cTn id="60" dur="164" tmFilter="0, 0; 0.125,0.2665; 0.25,0.4; 0.375,0.465; 0.5,0.5;  0.625,0.535; 0.75,0.6; 0.875,0.7335; 1,1">
                                          <p:stCondLst>
                                            <p:cond delay="1656"/>
                                          </p:stCondLst>
                                        </p:cTn>
                                        <p:tgtEl>
                                          <p:spTgt spid="19"/>
                                        </p:tgtEl>
                                        <p:attrNameLst>
                                          <p:attrName>ppt_y</p:attrName>
                                        </p:attrNameLst>
                                      </p:cBhvr>
                                      <p:tavLst>
                                        <p:tav tm="0" fmla="#ppt_y-sin(pi*$)/81">
                                          <p:val>
                                            <p:fltVal val="0"/>
                                          </p:val>
                                        </p:tav>
                                        <p:tav tm="100000">
                                          <p:val>
                                            <p:fltVal val="1"/>
                                          </p:val>
                                        </p:tav>
                                      </p:tavLst>
                                    </p:anim>
                                    <p:animScale>
                                      <p:cBhvr>
                                        <p:cTn id="61" dur="26">
                                          <p:stCondLst>
                                            <p:cond delay="650"/>
                                          </p:stCondLst>
                                        </p:cTn>
                                        <p:tgtEl>
                                          <p:spTgt spid="19"/>
                                        </p:tgtEl>
                                      </p:cBhvr>
                                      <p:to x="100000" y="60000"/>
                                    </p:animScale>
                                    <p:animScale>
                                      <p:cBhvr>
                                        <p:cTn id="62" dur="166" decel="50000">
                                          <p:stCondLst>
                                            <p:cond delay="676"/>
                                          </p:stCondLst>
                                        </p:cTn>
                                        <p:tgtEl>
                                          <p:spTgt spid="19"/>
                                        </p:tgtEl>
                                      </p:cBhvr>
                                      <p:to x="100000" y="100000"/>
                                    </p:animScale>
                                    <p:animScale>
                                      <p:cBhvr>
                                        <p:cTn id="63" dur="26">
                                          <p:stCondLst>
                                            <p:cond delay="1312"/>
                                          </p:stCondLst>
                                        </p:cTn>
                                        <p:tgtEl>
                                          <p:spTgt spid="19"/>
                                        </p:tgtEl>
                                      </p:cBhvr>
                                      <p:to x="100000" y="80000"/>
                                    </p:animScale>
                                    <p:animScale>
                                      <p:cBhvr>
                                        <p:cTn id="64" dur="166" decel="50000">
                                          <p:stCondLst>
                                            <p:cond delay="1338"/>
                                          </p:stCondLst>
                                        </p:cTn>
                                        <p:tgtEl>
                                          <p:spTgt spid="19"/>
                                        </p:tgtEl>
                                      </p:cBhvr>
                                      <p:to x="100000" y="100000"/>
                                    </p:animScale>
                                    <p:animScale>
                                      <p:cBhvr>
                                        <p:cTn id="65" dur="26">
                                          <p:stCondLst>
                                            <p:cond delay="1642"/>
                                          </p:stCondLst>
                                        </p:cTn>
                                        <p:tgtEl>
                                          <p:spTgt spid="19"/>
                                        </p:tgtEl>
                                      </p:cBhvr>
                                      <p:to x="100000" y="90000"/>
                                    </p:animScale>
                                    <p:animScale>
                                      <p:cBhvr>
                                        <p:cTn id="66" dur="166" decel="50000">
                                          <p:stCondLst>
                                            <p:cond delay="1668"/>
                                          </p:stCondLst>
                                        </p:cTn>
                                        <p:tgtEl>
                                          <p:spTgt spid="19"/>
                                        </p:tgtEl>
                                      </p:cBhvr>
                                      <p:to x="100000" y="100000"/>
                                    </p:animScale>
                                    <p:animScale>
                                      <p:cBhvr>
                                        <p:cTn id="67" dur="26">
                                          <p:stCondLst>
                                            <p:cond delay="1808"/>
                                          </p:stCondLst>
                                        </p:cTn>
                                        <p:tgtEl>
                                          <p:spTgt spid="19"/>
                                        </p:tgtEl>
                                      </p:cBhvr>
                                      <p:to x="100000" y="95000"/>
                                    </p:animScale>
                                    <p:animScale>
                                      <p:cBhvr>
                                        <p:cTn id="68" dur="166" decel="50000">
                                          <p:stCondLst>
                                            <p:cond delay="1834"/>
                                          </p:stCondLst>
                                        </p:cTn>
                                        <p:tgtEl>
                                          <p:spTgt spid="19"/>
                                        </p:tgtEl>
                                      </p:cBhvr>
                                      <p:to x="100000" y="100000"/>
                                    </p:animScale>
                                  </p:childTnLst>
                                </p:cTn>
                              </p:par>
                              <p:par>
                                <p:cTn id="69" presetID="26" presetClass="entr" presetSubtype="0" fill="hold" nodeType="withEffect">
                                  <p:stCondLst>
                                    <p:cond delay="1000"/>
                                  </p:stCondLst>
                                  <p:childTnLst>
                                    <p:set>
                                      <p:cBhvr>
                                        <p:cTn id="70" dur="1" fill="hold">
                                          <p:stCondLst>
                                            <p:cond delay="0"/>
                                          </p:stCondLst>
                                        </p:cTn>
                                        <p:tgtEl>
                                          <p:spTgt spid="20"/>
                                        </p:tgtEl>
                                        <p:attrNameLst>
                                          <p:attrName>style.visibility</p:attrName>
                                        </p:attrNameLst>
                                      </p:cBhvr>
                                      <p:to>
                                        <p:strVal val="visible"/>
                                      </p:to>
                                    </p:set>
                                    <p:animEffect transition="in" filter="wipe(down)">
                                      <p:cBhvr>
                                        <p:cTn id="71" dur="870">
                                          <p:stCondLst>
                                            <p:cond delay="0"/>
                                          </p:stCondLst>
                                        </p:cTn>
                                        <p:tgtEl>
                                          <p:spTgt spid="20"/>
                                        </p:tgtEl>
                                      </p:cBhvr>
                                    </p:animEffect>
                                    <p:anim calcmode="lin" valueType="num">
                                      <p:cBhvr>
                                        <p:cTn id="72" dur="2733" tmFilter="0,0; 0.14,0.36; 0.43,0.73; 0.71,0.91; 1.0,1.0">
                                          <p:stCondLst>
                                            <p:cond delay="0"/>
                                          </p:stCondLst>
                                        </p:cTn>
                                        <p:tgtEl>
                                          <p:spTgt spid="20"/>
                                        </p:tgtEl>
                                        <p:attrNameLst>
                                          <p:attrName>ppt_x</p:attrName>
                                        </p:attrNameLst>
                                      </p:cBhvr>
                                      <p:tavLst>
                                        <p:tav tm="0">
                                          <p:val>
                                            <p:strVal val="#ppt_x-0.25"/>
                                          </p:val>
                                        </p:tav>
                                        <p:tav tm="100000">
                                          <p:val>
                                            <p:strVal val="#ppt_x"/>
                                          </p:val>
                                        </p:tav>
                                      </p:tavLst>
                                    </p:anim>
                                    <p:anim calcmode="lin" valueType="num">
                                      <p:cBhvr>
                                        <p:cTn id="73" dur="996" tmFilter="0.0,0.0; 0.25,0.07; 0.50,0.2; 0.75,0.467; 1.0,1.0">
                                          <p:stCondLst>
                                            <p:cond delay="0"/>
                                          </p:stCondLst>
                                        </p:cTn>
                                        <p:tgtEl>
                                          <p:spTgt spid="20"/>
                                        </p:tgtEl>
                                        <p:attrNameLst>
                                          <p:attrName>ppt_y</p:attrName>
                                        </p:attrNameLst>
                                      </p:cBhvr>
                                      <p:tavLst>
                                        <p:tav tm="0" fmla="#ppt_y-sin(pi*$)/3">
                                          <p:val>
                                            <p:fltVal val="0.5"/>
                                          </p:val>
                                        </p:tav>
                                        <p:tav tm="100000">
                                          <p:val>
                                            <p:fltVal val="1"/>
                                          </p:val>
                                        </p:tav>
                                      </p:tavLst>
                                    </p:anim>
                                    <p:anim calcmode="lin" valueType="num">
                                      <p:cBhvr>
                                        <p:cTn id="74" dur="996" tmFilter="0, 0; 0.125,0.2665; 0.25,0.4; 0.375,0.465; 0.5,0.5;  0.625,0.535; 0.75,0.6; 0.875,0.7335; 1,1">
                                          <p:stCondLst>
                                            <p:cond delay="996"/>
                                          </p:stCondLst>
                                        </p:cTn>
                                        <p:tgtEl>
                                          <p:spTgt spid="20"/>
                                        </p:tgtEl>
                                        <p:attrNameLst>
                                          <p:attrName>ppt_y</p:attrName>
                                        </p:attrNameLst>
                                      </p:cBhvr>
                                      <p:tavLst>
                                        <p:tav tm="0" fmla="#ppt_y-sin(pi*$)/9">
                                          <p:val>
                                            <p:fltVal val="0"/>
                                          </p:val>
                                        </p:tav>
                                        <p:tav tm="100000">
                                          <p:val>
                                            <p:fltVal val="1"/>
                                          </p:val>
                                        </p:tav>
                                      </p:tavLst>
                                    </p:anim>
                                    <p:anim calcmode="lin" valueType="num">
                                      <p:cBhvr>
                                        <p:cTn id="75" dur="498" tmFilter="0, 0; 0.125,0.2665; 0.25,0.4; 0.375,0.465; 0.5,0.5;  0.625,0.535; 0.75,0.6; 0.875,0.7335; 1,1">
                                          <p:stCondLst>
                                            <p:cond delay="1986"/>
                                          </p:stCondLst>
                                        </p:cTn>
                                        <p:tgtEl>
                                          <p:spTgt spid="20"/>
                                        </p:tgtEl>
                                        <p:attrNameLst>
                                          <p:attrName>ppt_y</p:attrName>
                                        </p:attrNameLst>
                                      </p:cBhvr>
                                      <p:tavLst>
                                        <p:tav tm="0" fmla="#ppt_y-sin(pi*$)/27">
                                          <p:val>
                                            <p:fltVal val="0"/>
                                          </p:val>
                                        </p:tav>
                                        <p:tav tm="100000">
                                          <p:val>
                                            <p:fltVal val="1"/>
                                          </p:val>
                                        </p:tav>
                                      </p:tavLst>
                                    </p:anim>
                                    <p:anim calcmode="lin" valueType="num">
                                      <p:cBhvr>
                                        <p:cTn id="76" dur="246" tmFilter="0, 0; 0.125,0.2665; 0.25,0.4; 0.375,0.465; 0.5,0.5;  0.625,0.535; 0.75,0.6; 0.875,0.7335; 1,1">
                                          <p:stCondLst>
                                            <p:cond delay="2484"/>
                                          </p:stCondLst>
                                        </p:cTn>
                                        <p:tgtEl>
                                          <p:spTgt spid="20"/>
                                        </p:tgtEl>
                                        <p:attrNameLst>
                                          <p:attrName>ppt_y</p:attrName>
                                        </p:attrNameLst>
                                      </p:cBhvr>
                                      <p:tavLst>
                                        <p:tav tm="0" fmla="#ppt_y-sin(pi*$)/81">
                                          <p:val>
                                            <p:fltVal val="0"/>
                                          </p:val>
                                        </p:tav>
                                        <p:tav tm="100000">
                                          <p:val>
                                            <p:fltVal val="1"/>
                                          </p:val>
                                        </p:tav>
                                      </p:tavLst>
                                    </p:anim>
                                    <p:animScale>
                                      <p:cBhvr>
                                        <p:cTn id="77" dur="39">
                                          <p:stCondLst>
                                            <p:cond delay="975"/>
                                          </p:stCondLst>
                                        </p:cTn>
                                        <p:tgtEl>
                                          <p:spTgt spid="20"/>
                                        </p:tgtEl>
                                      </p:cBhvr>
                                      <p:to x="100000" y="60000"/>
                                    </p:animScale>
                                    <p:animScale>
                                      <p:cBhvr>
                                        <p:cTn id="78" dur="249" decel="50000">
                                          <p:stCondLst>
                                            <p:cond delay="1014"/>
                                          </p:stCondLst>
                                        </p:cTn>
                                        <p:tgtEl>
                                          <p:spTgt spid="20"/>
                                        </p:tgtEl>
                                      </p:cBhvr>
                                      <p:to x="100000" y="100000"/>
                                    </p:animScale>
                                    <p:animScale>
                                      <p:cBhvr>
                                        <p:cTn id="79" dur="39">
                                          <p:stCondLst>
                                            <p:cond delay="1968"/>
                                          </p:stCondLst>
                                        </p:cTn>
                                        <p:tgtEl>
                                          <p:spTgt spid="20"/>
                                        </p:tgtEl>
                                      </p:cBhvr>
                                      <p:to x="100000" y="80000"/>
                                    </p:animScale>
                                    <p:animScale>
                                      <p:cBhvr>
                                        <p:cTn id="80" dur="249" decel="50000">
                                          <p:stCondLst>
                                            <p:cond delay="2007"/>
                                          </p:stCondLst>
                                        </p:cTn>
                                        <p:tgtEl>
                                          <p:spTgt spid="20"/>
                                        </p:tgtEl>
                                      </p:cBhvr>
                                      <p:to x="100000" y="100000"/>
                                    </p:animScale>
                                    <p:animScale>
                                      <p:cBhvr>
                                        <p:cTn id="81" dur="39">
                                          <p:stCondLst>
                                            <p:cond delay="2463"/>
                                          </p:stCondLst>
                                        </p:cTn>
                                        <p:tgtEl>
                                          <p:spTgt spid="20"/>
                                        </p:tgtEl>
                                      </p:cBhvr>
                                      <p:to x="100000" y="90000"/>
                                    </p:animScale>
                                    <p:animScale>
                                      <p:cBhvr>
                                        <p:cTn id="82" dur="249" decel="50000">
                                          <p:stCondLst>
                                            <p:cond delay="2502"/>
                                          </p:stCondLst>
                                        </p:cTn>
                                        <p:tgtEl>
                                          <p:spTgt spid="20"/>
                                        </p:tgtEl>
                                      </p:cBhvr>
                                      <p:to x="100000" y="100000"/>
                                    </p:animScale>
                                    <p:animScale>
                                      <p:cBhvr>
                                        <p:cTn id="83" dur="39">
                                          <p:stCondLst>
                                            <p:cond delay="2712"/>
                                          </p:stCondLst>
                                        </p:cTn>
                                        <p:tgtEl>
                                          <p:spTgt spid="20"/>
                                        </p:tgtEl>
                                      </p:cBhvr>
                                      <p:to x="100000" y="95000"/>
                                    </p:animScale>
                                    <p:animScale>
                                      <p:cBhvr>
                                        <p:cTn id="84" dur="249" decel="50000">
                                          <p:stCondLst>
                                            <p:cond delay="2751"/>
                                          </p:stCondLst>
                                        </p:cTn>
                                        <p:tgtEl>
                                          <p:spTgt spid="20"/>
                                        </p:tgtEl>
                                      </p:cBhvr>
                                      <p:to x="100000" y="100000"/>
                                    </p:animScale>
                                  </p:childTnLst>
                                </p:cTn>
                              </p:par>
                            </p:childTnLst>
                          </p:cTn>
                        </p:par>
                        <p:par>
                          <p:cTn id="85" fill="hold">
                            <p:stCondLst>
                              <p:cond delay="4000"/>
                            </p:stCondLst>
                            <p:childTnLst>
                              <p:par>
                                <p:cTn id="86" presetID="10"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fade">
                                      <p:cBhvr>
                                        <p:cTn id="88" dur="500"/>
                                        <p:tgtEl>
                                          <p:spTgt spid="15"/>
                                        </p:tgtEl>
                                      </p:cBhvr>
                                    </p:animEffect>
                                  </p:childTnLst>
                                </p:cTn>
                              </p:par>
                            </p:childTnLst>
                          </p:cTn>
                        </p:par>
                        <p:par>
                          <p:cTn id="89" fill="hold">
                            <p:stCondLst>
                              <p:cond delay="4500"/>
                            </p:stCondLst>
                            <p:childTnLst>
                              <p:par>
                                <p:cTn id="90" presetID="10" presetClass="entr" presetSubtype="0" fill="hold" nodeType="afterEffect">
                                  <p:stCondLst>
                                    <p:cond delay="0"/>
                                  </p:stCondLst>
                                  <p:childTnLst>
                                    <p:set>
                                      <p:cBhvr>
                                        <p:cTn id="91" dur="1" fill="hold">
                                          <p:stCondLst>
                                            <p:cond delay="0"/>
                                          </p:stCondLst>
                                        </p:cTn>
                                        <p:tgtEl>
                                          <p:spTgt spid="16"/>
                                        </p:tgtEl>
                                        <p:attrNameLst>
                                          <p:attrName>style.visibility</p:attrName>
                                        </p:attrNameLst>
                                      </p:cBhvr>
                                      <p:to>
                                        <p:strVal val="visible"/>
                                      </p:to>
                                    </p:set>
                                    <p:animEffect transition="in" filter="fade">
                                      <p:cBhvr>
                                        <p:cTn id="92" dur="500"/>
                                        <p:tgtEl>
                                          <p:spTgt spid="16"/>
                                        </p:tgtEl>
                                      </p:cBhvr>
                                    </p:animEffec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9"/>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13"/>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12"/>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11"/>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10"/>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2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EEB6-38AB-44CA-859B-7567E3776582}"/>
              </a:ext>
            </a:extLst>
          </p:cNvPr>
          <p:cNvSpPr>
            <a:spLocks noGrp="1"/>
          </p:cNvSpPr>
          <p:nvPr>
            <p:ph type="title"/>
          </p:nvPr>
        </p:nvSpPr>
        <p:spPr/>
        <p:txBody>
          <a:bodyPr/>
          <a:lstStyle/>
          <a:p>
            <a:r>
              <a:rPr lang="en-US" dirty="0"/>
              <a:t>Roles and configurations</a:t>
            </a:r>
          </a:p>
        </p:txBody>
      </p:sp>
      <p:grpSp>
        <p:nvGrpSpPr>
          <p:cNvPr id="4" name="Group 3">
            <a:extLst>
              <a:ext uri="{FF2B5EF4-FFF2-40B4-BE49-F238E27FC236}">
                <a16:creationId xmlns:a16="http://schemas.microsoft.com/office/drawing/2014/main" id="{37A156B4-A42E-4B19-BA01-1DB28ECB0F98}"/>
              </a:ext>
            </a:extLst>
          </p:cNvPr>
          <p:cNvGrpSpPr/>
          <p:nvPr/>
        </p:nvGrpSpPr>
        <p:grpSpPr>
          <a:xfrm>
            <a:off x="1143001" y="3429000"/>
            <a:ext cx="4670574" cy="2925268"/>
            <a:chOff x="1143001" y="3429000"/>
            <a:chExt cx="4670574" cy="2793416"/>
          </a:xfrm>
          <a:effectLst>
            <a:outerShdw blurRad="63500" sx="102000" sy="102000" algn="ctr" rotWithShape="0">
              <a:prstClr val="black">
                <a:alpha val="40000"/>
              </a:prstClr>
            </a:outerShdw>
          </a:effectLst>
        </p:grpSpPr>
        <p:grpSp>
          <p:nvGrpSpPr>
            <p:cNvPr id="5" name="Group 4">
              <a:extLst>
                <a:ext uri="{FF2B5EF4-FFF2-40B4-BE49-F238E27FC236}">
                  <a16:creationId xmlns:a16="http://schemas.microsoft.com/office/drawing/2014/main" id="{9AA16264-A57D-479D-998E-D157710047A6}"/>
                </a:ext>
              </a:extLst>
            </p:cNvPr>
            <p:cNvGrpSpPr/>
            <p:nvPr/>
          </p:nvGrpSpPr>
          <p:grpSpPr>
            <a:xfrm>
              <a:off x="1143001" y="3784813"/>
              <a:ext cx="4670574" cy="2437603"/>
              <a:chOff x="6218756" y="1736702"/>
              <a:chExt cx="4670574" cy="2437603"/>
            </a:xfrm>
          </p:grpSpPr>
          <p:grpSp>
            <p:nvGrpSpPr>
              <p:cNvPr id="7" name="Group 6">
                <a:extLst>
                  <a:ext uri="{FF2B5EF4-FFF2-40B4-BE49-F238E27FC236}">
                    <a16:creationId xmlns:a16="http://schemas.microsoft.com/office/drawing/2014/main" id="{8D9E2E64-EBAD-417A-848F-BCC0E085D648}"/>
                  </a:ext>
                </a:extLst>
              </p:cNvPr>
              <p:cNvGrpSpPr/>
              <p:nvPr/>
            </p:nvGrpSpPr>
            <p:grpSpPr>
              <a:xfrm>
                <a:off x="6218757" y="1736702"/>
                <a:ext cx="4670573" cy="2364856"/>
                <a:chOff x="1355074" y="2225407"/>
                <a:chExt cx="3355073" cy="3858332"/>
              </a:xfrm>
            </p:grpSpPr>
            <p:sp>
              <p:nvSpPr>
                <p:cNvPr id="9" name="Rectangle 8">
                  <a:extLst>
                    <a:ext uri="{FF2B5EF4-FFF2-40B4-BE49-F238E27FC236}">
                      <a16:creationId xmlns:a16="http://schemas.microsoft.com/office/drawing/2014/main" id="{A4770BBB-030B-4B49-A5D6-E97F7787D1E5}"/>
                    </a:ext>
                  </a:extLst>
                </p:cNvPr>
                <p:cNvSpPr/>
                <p:nvPr/>
              </p:nvSpPr>
              <p:spPr>
                <a:xfrm>
                  <a:off x="1355074" y="2807161"/>
                  <a:ext cx="3355073" cy="3276578"/>
                </a:xfrm>
                <a:prstGeom prst="rect">
                  <a:avLst/>
                </a:prstGeom>
                <a:solidFill>
                  <a:schemeClr val="bg1"/>
                </a:solidFill>
                <a:ln w="38100">
                  <a:solidFill>
                    <a:schemeClr val="accent4">
                      <a:lumMod val="75000"/>
                    </a:schemeClr>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B2472E78-7610-41B9-B753-944073967BBE}"/>
                    </a:ext>
                  </a:extLst>
                </p:cNvPr>
                <p:cNvSpPr/>
                <p:nvPr/>
              </p:nvSpPr>
              <p:spPr>
                <a:xfrm>
                  <a:off x="2302445" y="2225407"/>
                  <a:ext cx="2407702" cy="594911"/>
                </a:xfrm>
                <a:prstGeom prst="rect">
                  <a:avLst/>
                </a:prstGeom>
                <a:solidFill>
                  <a:schemeClr val="accent4">
                    <a:lumMod val="60000"/>
                    <a:lumOff val="40000"/>
                  </a:schemeClr>
                </a:solidFill>
                <a:ln w="38100">
                  <a:solidFill>
                    <a:schemeClr val="accent4">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b="1" dirty="0" err="1">
                      <a:solidFill>
                        <a:schemeClr val="bg1"/>
                      </a:solidFill>
                    </a:rPr>
                    <a:t>FileServer</a:t>
                  </a:r>
                  <a:endParaRPr lang="en-GB" b="1" dirty="0">
                    <a:solidFill>
                      <a:schemeClr val="bg1"/>
                    </a:solidFill>
                  </a:endParaRPr>
                </a:p>
              </p:txBody>
            </p:sp>
            <p:sp>
              <p:nvSpPr>
                <p:cNvPr id="11" name="Rectangle 10">
                  <a:extLst>
                    <a:ext uri="{FF2B5EF4-FFF2-40B4-BE49-F238E27FC236}">
                      <a16:creationId xmlns:a16="http://schemas.microsoft.com/office/drawing/2014/main" id="{880C6E34-8A23-4FCE-9AE0-4F0627755685}"/>
                    </a:ext>
                  </a:extLst>
                </p:cNvPr>
                <p:cNvSpPr/>
                <p:nvPr/>
              </p:nvSpPr>
              <p:spPr>
                <a:xfrm>
                  <a:off x="1355074" y="2225407"/>
                  <a:ext cx="947371" cy="594911"/>
                </a:xfrm>
                <a:prstGeom prst="rect">
                  <a:avLst/>
                </a:prstGeom>
                <a:solidFill>
                  <a:schemeClr val="accent4">
                    <a:lumMod val="60000"/>
                    <a:lumOff val="40000"/>
                  </a:schemeClr>
                </a:solidFill>
                <a:ln w="38100">
                  <a:solidFill>
                    <a:schemeClr val="accent4">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b="1" i="1" dirty="0">
                      <a:solidFill>
                        <a:schemeClr val="bg1"/>
                      </a:solidFill>
                    </a:rPr>
                    <a:t>DATA</a:t>
                  </a:r>
                </a:p>
              </p:txBody>
            </p:sp>
          </p:grpSp>
          <p:sp>
            <p:nvSpPr>
              <p:cNvPr id="8" name="TextBox 7">
                <a:extLst>
                  <a:ext uri="{FF2B5EF4-FFF2-40B4-BE49-F238E27FC236}">
                    <a16:creationId xmlns:a16="http://schemas.microsoft.com/office/drawing/2014/main" id="{9981FFBA-BE98-41D4-B5EB-C83C9CC2C70C}"/>
                  </a:ext>
                </a:extLst>
              </p:cNvPr>
              <p:cNvSpPr txBox="1"/>
              <p:nvPr/>
            </p:nvSpPr>
            <p:spPr>
              <a:xfrm>
                <a:off x="6218756" y="2146367"/>
                <a:ext cx="4589583" cy="2027938"/>
              </a:xfrm>
              <a:prstGeom prst="rect">
                <a:avLst/>
              </a:prstGeom>
              <a:noFill/>
            </p:spPr>
            <p:txBody>
              <a:bodyPr wrap="square" rtlCol="0">
                <a:spAutoFit/>
              </a:bodyPr>
              <a:lstStyle/>
              <a:p>
                <a:pPr>
                  <a:spcAft>
                    <a:spcPts val="0"/>
                  </a:spcAft>
                </a:pP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Configurations:</a:t>
                </a: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a:t>
                </a:r>
                <a:endParaRPr lang="en-GB" sz="1600" dirty="0">
                  <a:latin typeface="Consolas" panose="020B0609020204030204" pitchFamily="49" charset="0"/>
                  <a:ea typeface="Calibri" panose="020F0502020204030204" pitchFamily="34" charset="0"/>
                  <a:cs typeface="Times New Roman" panose="02020603050405020304" pitchFamily="18" charset="0"/>
                </a:endParaRPr>
              </a:p>
              <a:p>
                <a:pPr>
                  <a:spcAft>
                    <a:spcPts val="0"/>
                  </a:spcAft>
                </a:pPr>
                <a:r>
                  <a:rPr lang="en-GB" sz="1600" dirty="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err="1">
                    <a:solidFill>
                      <a:srgbClr val="CE9178"/>
                    </a:solidFill>
                    <a:latin typeface="Consolas" panose="020B0609020204030204" pitchFamily="49" charset="0"/>
                    <a:ea typeface="Times New Roman" panose="02020603050405020304" pitchFamily="18" charset="0"/>
                    <a:cs typeface="Times New Roman" panose="02020603050405020304" pitchFamily="18" charset="0"/>
                  </a:rPr>
                  <a:t>FilesAndFolders</a:t>
                </a:r>
                <a:endParaRPr lang="en-GB" sz="1600" dirty="0">
                  <a:latin typeface="Consolas" panose="020B0609020204030204" pitchFamily="49" charset="0"/>
                  <a:ea typeface="Calibri" panose="020F0502020204030204" pitchFamily="34" charset="0"/>
                  <a:cs typeface="Times New Roman" panose="02020603050405020304" pitchFamily="18" charset="0"/>
                </a:endParaRPr>
              </a:p>
              <a:p>
                <a:pPr>
                  <a:spcAft>
                    <a:spcPts val="0"/>
                  </a:spcAft>
                </a:pP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endParaRPr lang="en-GB" sz="1600" dirty="0">
                  <a:latin typeface="Consolas" panose="020B0609020204030204" pitchFamily="49" charset="0"/>
                  <a:ea typeface="Calibri" panose="020F0502020204030204" pitchFamily="34" charset="0"/>
                  <a:cs typeface="Times New Roman" panose="02020603050405020304" pitchFamily="18" charset="0"/>
                </a:endParaRPr>
              </a:p>
              <a:p>
                <a:pPr>
                  <a:spcAft>
                    <a:spcPts val="0"/>
                  </a:spcAft>
                </a:pPr>
                <a:r>
                  <a:rPr lang="en-GB" sz="1600" dirty="0" err="1">
                    <a:solidFill>
                      <a:srgbClr val="569CD6"/>
                    </a:solidFill>
                    <a:latin typeface="Consolas" panose="020B0609020204030204" pitchFamily="49" charset="0"/>
                    <a:ea typeface="Times New Roman" panose="02020603050405020304" pitchFamily="18" charset="0"/>
                    <a:cs typeface="Times New Roman" panose="02020603050405020304" pitchFamily="18" charset="0"/>
                  </a:rPr>
                  <a:t>FilesAndFolders</a:t>
                </a: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a:t>
                </a:r>
                <a:endPar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endParaRPr>
              </a:p>
              <a:p>
                <a:pPr>
                  <a:spcAft>
                    <a:spcPts val="0"/>
                  </a:spcAft>
                </a:pP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569CD6"/>
                    </a:solidFill>
                    <a:latin typeface="Consolas" panose="020B0609020204030204" pitchFamily="49" charset="0"/>
                    <a:cs typeface="Times New Roman" panose="02020603050405020304" pitchFamily="18" charset="0"/>
                  </a:rPr>
                  <a:t>Items</a:t>
                </a: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a:t>
                </a:r>
              </a:p>
              <a:p>
                <a:pPr>
                  <a:spcAft>
                    <a:spcPts val="0"/>
                  </a:spcAft>
                </a:pP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err="1">
                    <a:solidFill>
                      <a:srgbClr val="569CD6"/>
                    </a:solidFill>
                    <a:latin typeface="Consolas" panose="020B0609020204030204" pitchFamily="49" charset="0"/>
                    <a:cs typeface="Times New Roman" panose="02020603050405020304" pitchFamily="18" charset="0"/>
                  </a:rPr>
                  <a:t>DestinationPath</a:t>
                </a: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a:t>
                </a: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mytxtfile.txt</a:t>
                </a:r>
                <a:endPar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endParaRPr>
              </a:p>
              <a:p>
                <a:pPr>
                  <a:spcAft>
                    <a:spcPts val="0"/>
                  </a:spcAft>
                </a:pP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Ensure:</a:t>
                </a: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Present</a:t>
                </a:r>
                <a:endParaRPr lang="en-GB" sz="1600" dirty="0">
                  <a:latin typeface="Consolas" panose="020B0609020204030204" pitchFamily="49" charset="0"/>
                  <a:ea typeface="Calibri" panose="020F0502020204030204" pitchFamily="34" charset="0"/>
                  <a:cs typeface="Times New Roman" panose="02020603050405020304" pitchFamily="18" charset="0"/>
                </a:endParaRPr>
              </a:p>
              <a:p>
                <a:pPr>
                  <a:spcAft>
                    <a:spcPts val="0"/>
                  </a:spcAft>
                </a:pP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    Contents:</a:t>
                </a: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Some content</a:t>
                </a:r>
                <a:endParaRPr lang="en-GB" sz="1600" dirty="0">
                  <a:latin typeface="Consolas" panose="020B0609020204030204" pitchFamily="49" charset="0"/>
                </a:endParaRPr>
              </a:p>
            </p:txBody>
          </p:sp>
        </p:grpSp>
        <p:sp>
          <p:nvSpPr>
            <p:cNvPr id="6" name="TextBox 5">
              <a:extLst>
                <a:ext uri="{FF2B5EF4-FFF2-40B4-BE49-F238E27FC236}">
                  <a16:creationId xmlns:a16="http://schemas.microsoft.com/office/drawing/2014/main" id="{88AA513E-4835-4FAE-AD0A-47CB0624E394}"/>
                </a:ext>
              </a:extLst>
            </p:cNvPr>
            <p:cNvSpPr txBox="1"/>
            <p:nvPr/>
          </p:nvSpPr>
          <p:spPr>
            <a:xfrm>
              <a:off x="1143001" y="3429000"/>
              <a:ext cx="4670573" cy="369332"/>
            </a:xfrm>
            <a:prstGeom prst="rect">
              <a:avLst/>
            </a:prstGeom>
            <a:solidFill>
              <a:schemeClr val="accent6">
                <a:lumMod val="50000"/>
              </a:schemeClr>
            </a:solidFill>
            <a:ln w="38100">
              <a:solidFill>
                <a:schemeClr val="accent4">
                  <a:lumMod val="75000"/>
                </a:schemeClr>
              </a:solidFill>
            </a:ln>
          </p:spPr>
          <p:txBody>
            <a:bodyPr wrap="square" rtlCol="0">
              <a:spAutoFit/>
            </a:bodyPr>
            <a:lstStyle/>
            <a:p>
              <a:r>
                <a:rPr lang="en-GB" b="1" i="1" dirty="0"/>
                <a:t>      ROLE DEFINITION</a:t>
              </a:r>
            </a:p>
          </p:txBody>
        </p:sp>
      </p:grpSp>
      <p:grpSp>
        <p:nvGrpSpPr>
          <p:cNvPr id="12" name="Group 11">
            <a:extLst>
              <a:ext uri="{FF2B5EF4-FFF2-40B4-BE49-F238E27FC236}">
                <a16:creationId xmlns:a16="http://schemas.microsoft.com/office/drawing/2014/main" id="{D1B7DE9C-3385-4454-A32D-4407ED4A8930}"/>
              </a:ext>
            </a:extLst>
          </p:cNvPr>
          <p:cNvGrpSpPr/>
          <p:nvPr/>
        </p:nvGrpSpPr>
        <p:grpSpPr>
          <a:xfrm>
            <a:off x="6134025" y="1269545"/>
            <a:ext cx="3619305" cy="1729504"/>
            <a:chOff x="1355074" y="2225407"/>
            <a:chExt cx="3619305" cy="1729504"/>
          </a:xfrm>
          <a:effectLst>
            <a:outerShdw blurRad="63500" sx="102000" sy="102000" algn="ctr" rotWithShape="0">
              <a:prstClr val="black">
                <a:alpha val="40000"/>
              </a:prstClr>
            </a:outerShdw>
          </a:effectLst>
        </p:grpSpPr>
        <p:grpSp>
          <p:nvGrpSpPr>
            <p:cNvPr id="13" name="Group 12">
              <a:extLst>
                <a:ext uri="{FF2B5EF4-FFF2-40B4-BE49-F238E27FC236}">
                  <a16:creationId xmlns:a16="http://schemas.microsoft.com/office/drawing/2014/main" id="{468AADF7-BE6E-44BF-844B-D9646A2981D1}"/>
                </a:ext>
              </a:extLst>
            </p:cNvPr>
            <p:cNvGrpSpPr/>
            <p:nvPr/>
          </p:nvGrpSpPr>
          <p:grpSpPr>
            <a:xfrm>
              <a:off x="1355074" y="2225407"/>
              <a:ext cx="3355073" cy="1729504"/>
              <a:chOff x="1355074" y="2225407"/>
              <a:chExt cx="3355073" cy="1729504"/>
            </a:xfrm>
          </p:grpSpPr>
          <p:sp>
            <p:nvSpPr>
              <p:cNvPr id="18" name="Rectangle 17">
                <a:extLst>
                  <a:ext uri="{FF2B5EF4-FFF2-40B4-BE49-F238E27FC236}">
                    <a16:creationId xmlns:a16="http://schemas.microsoft.com/office/drawing/2014/main" id="{37A876E7-BA47-49D3-8CDF-39A6D8E78755}"/>
                  </a:ext>
                </a:extLst>
              </p:cNvPr>
              <p:cNvSpPr/>
              <p:nvPr/>
            </p:nvSpPr>
            <p:spPr>
              <a:xfrm>
                <a:off x="1355074" y="2807162"/>
                <a:ext cx="3355073" cy="1147749"/>
              </a:xfrm>
              <a:prstGeom prst="rect">
                <a:avLst/>
              </a:prstGeom>
              <a:noFill/>
              <a:ln w="38100">
                <a:solidFill>
                  <a:schemeClr val="accent3">
                    <a:lumMod val="75000"/>
                  </a:schemeClr>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272143D8-8FDE-4B56-BE89-EB63B7B26D8C}"/>
                  </a:ext>
                </a:extLst>
              </p:cNvPr>
              <p:cNvSpPr/>
              <p:nvPr/>
            </p:nvSpPr>
            <p:spPr>
              <a:xfrm>
                <a:off x="2302445" y="2225407"/>
                <a:ext cx="2407702" cy="594911"/>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b="1" dirty="0" err="1"/>
                  <a:t>DscConfig.Demo</a:t>
                </a:r>
                <a:endParaRPr lang="en-GB" b="1" dirty="0"/>
              </a:p>
            </p:txBody>
          </p:sp>
          <p:sp>
            <p:nvSpPr>
              <p:cNvPr id="20" name="Rectangle 19">
                <a:extLst>
                  <a:ext uri="{FF2B5EF4-FFF2-40B4-BE49-F238E27FC236}">
                    <a16:creationId xmlns:a16="http://schemas.microsoft.com/office/drawing/2014/main" id="{CDEF76F5-47DF-46F3-A887-EDA38C2C0AF4}"/>
                  </a:ext>
                </a:extLst>
              </p:cNvPr>
              <p:cNvSpPr/>
              <p:nvPr/>
            </p:nvSpPr>
            <p:spPr>
              <a:xfrm>
                <a:off x="1355074" y="2225407"/>
                <a:ext cx="1126746" cy="594911"/>
              </a:xfrm>
              <a:prstGeom prst="rect">
                <a:avLst/>
              </a:prstGeom>
              <a:solidFill>
                <a:srgbClr val="FF9933"/>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b="1" dirty="0">
                    <a:solidFill>
                      <a:schemeClr val="bg1"/>
                    </a:solidFill>
                  </a:rPr>
                  <a:t>Module</a:t>
                </a:r>
              </a:p>
            </p:txBody>
          </p:sp>
        </p:grpSp>
        <p:sp>
          <p:nvSpPr>
            <p:cNvPr id="14" name="Rectangle 13">
              <a:extLst>
                <a:ext uri="{FF2B5EF4-FFF2-40B4-BE49-F238E27FC236}">
                  <a16:creationId xmlns:a16="http://schemas.microsoft.com/office/drawing/2014/main" id="{D4C80B15-9EFD-48B5-9D4E-1EC3A7D30E07}"/>
                </a:ext>
              </a:extLst>
            </p:cNvPr>
            <p:cNvSpPr/>
            <p:nvPr/>
          </p:nvSpPr>
          <p:spPr>
            <a:xfrm>
              <a:off x="2566677" y="2977872"/>
              <a:ext cx="2407702" cy="357508"/>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err="1"/>
                <a:t>FilesAndFolders</a:t>
              </a:r>
              <a:endParaRPr lang="en-GB" dirty="0"/>
            </a:p>
          </p:txBody>
        </p:sp>
        <p:sp>
          <p:nvSpPr>
            <p:cNvPr id="15" name="Rectangle 14">
              <a:extLst>
                <a:ext uri="{FF2B5EF4-FFF2-40B4-BE49-F238E27FC236}">
                  <a16:creationId xmlns:a16="http://schemas.microsoft.com/office/drawing/2014/main" id="{025A573F-8BE7-4F18-AD47-3E06F0AA9380}"/>
                </a:ext>
              </a:extLst>
            </p:cNvPr>
            <p:cNvSpPr/>
            <p:nvPr/>
          </p:nvSpPr>
          <p:spPr>
            <a:xfrm>
              <a:off x="1619306" y="2977872"/>
              <a:ext cx="947371" cy="357508"/>
            </a:xfrm>
            <a:prstGeom prst="rect">
              <a:avLst/>
            </a:prstGeom>
            <a:solidFill>
              <a:srgbClr val="009900"/>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dirty="0"/>
                <a:t>Config</a:t>
              </a:r>
            </a:p>
          </p:txBody>
        </p:sp>
        <p:sp>
          <p:nvSpPr>
            <p:cNvPr id="16" name="Rectangle 15">
              <a:extLst>
                <a:ext uri="{FF2B5EF4-FFF2-40B4-BE49-F238E27FC236}">
                  <a16:creationId xmlns:a16="http://schemas.microsoft.com/office/drawing/2014/main" id="{4FA9ED99-8B49-4EFF-AB16-620A6CB7E44B}"/>
                </a:ext>
              </a:extLst>
            </p:cNvPr>
            <p:cNvSpPr/>
            <p:nvPr/>
          </p:nvSpPr>
          <p:spPr>
            <a:xfrm>
              <a:off x="2566677" y="3420956"/>
              <a:ext cx="2407702" cy="357508"/>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err="1"/>
                <a:t>RegistryKeys</a:t>
              </a:r>
              <a:endParaRPr lang="en-GB" dirty="0"/>
            </a:p>
          </p:txBody>
        </p:sp>
        <p:sp>
          <p:nvSpPr>
            <p:cNvPr id="17" name="Rectangle 16">
              <a:extLst>
                <a:ext uri="{FF2B5EF4-FFF2-40B4-BE49-F238E27FC236}">
                  <a16:creationId xmlns:a16="http://schemas.microsoft.com/office/drawing/2014/main" id="{E73A04B5-24CC-49BE-8FB7-3B1B190E809E}"/>
                </a:ext>
              </a:extLst>
            </p:cNvPr>
            <p:cNvSpPr/>
            <p:nvPr/>
          </p:nvSpPr>
          <p:spPr>
            <a:xfrm>
              <a:off x="1619306" y="3420956"/>
              <a:ext cx="947371" cy="357508"/>
            </a:xfrm>
            <a:prstGeom prst="rect">
              <a:avLst/>
            </a:prstGeom>
            <a:solidFill>
              <a:srgbClr val="009900"/>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dirty="0"/>
                <a:t>Config</a:t>
              </a:r>
            </a:p>
          </p:txBody>
        </p:sp>
      </p:grpSp>
      <p:grpSp>
        <p:nvGrpSpPr>
          <p:cNvPr id="21" name="Group 20">
            <a:extLst>
              <a:ext uri="{FF2B5EF4-FFF2-40B4-BE49-F238E27FC236}">
                <a16:creationId xmlns:a16="http://schemas.microsoft.com/office/drawing/2014/main" id="{448CD760-7401-4F48-9AAF-B92C98C76B3B}"/>
              </a:ext>
            </a:extLst>
          </p:cNvPr>
          <p:cNvGrpSpPr/>
          <p:nvPr/>
        </p:nvGrpSpPr>
        <p:grpSpPr>
          <a:xfrm>
            <a:off x="6871942" y="4457692"/>
            <a:ext cx="4394772" cy="2175998"/>
            <a:chOff x="5839442" y="3779660"/>
            <a:chExt cx="4113704" cy="2175998"/>
          </a:xfrm>
          <a:effectLst>
            <a:outerShdw blurRad="63500" sx="102000" sy="102000" algn="ctr" rotWithShape="0">
              <a:prstClr val="black">
                <a:alpha val="40000"/>
              </a:prstClr>
            </a:outerShdw>
          </a:effectLst>
        </p:grpSpPr>
        <p:sp>
          <p:nvSpPr>
            <p:cNvPr id="22" name="Rectangle 21">
              <a:extLst>
                <a:ext uri="{FF2B5EF4-FFF2-40B4-BE49-F238E27FC236}">
                  <a16:creationId xmlns:a16="http://schemas.microsoft.com/office/drawing/2014/main" id="{C259ACB9-81BA-425D-A2B7-7D59463E5D52}"/>
                </a:ext>
              </a:extLst>
            </p:cNvPr>
            <p:cNvSpPr/>
            <p:nvPr/>
          </p:nvSpPr>
          <p:spPr>
            <a:xfrm>
              <a:off x="5839442" y="4361415"/>
              <a:ext cx="4113704" cy="1594243"/>
            </a:xfrm>
            <a:prstGeom prst="rect">
              <a:avLst/>
            </a:prstGeom>
            <a:noFill/>
            <a:ln w="38100">
              <a:solidFill>
                <a:schemeClr val="accent3">
                  <a:lumMod val="75000"/>
                </a:schemeClr>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2B2336B-D6E0-4BEF-B5C8-8AF1CFB2907D}"/>
                </a:ext>
              </a:extLst>
            </p:cNvPr>
            <p:cNvSpPr/>
            <p:nvPr/>
          </p:nvSpPr>
          <p:spPr>
            <a:xfrm>
              <a:off x="7001027" y="3779660"/>
              <a:ext cx="2952119" cy="594911"/>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err="1"/>
                <a:t>PSDesiredStateConfiguration</a:t>
              </a:r>
              <a:endParaRPr lang="en-GB" dirty="0"/>
            </a:p>
          </p:txBody>
        </p:sp>
        <p:sp>
          <p:nvSpPr>
            <p:cNvPr id="24" name="Rectangle 23">
              <a:extLst>
                <a:ext uri="{FF2B5EF4-FFF2-40B4-BE49-F238E27FC236}">
                  <a16:creationId xmlns:a16="http://schemas.microsoft.com/office/drawing/2014/main" id="{8A21E744-18FE-4DD5-B200-18AC1665C80E}"/>
                </a:ext>
              </a:extLst>
            </p:cNvPr>
            <p:cNvSpPr/>
            <p:nvPr/>
          </p:nvSpPr>
          <p:spPr>
            <a:xfrm>
              <a:off x="5839442" y="3779660"/>
              <a:ext cx="1161585" cy="594911"/>
            </a:xfrm>
            <a:prstGeom prst="rect">
              <a:avLst/>
            </a:prstGeom>
            <a:solidFill>
              <a:srgbClr val="FF9933"/>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b="1" dirty="0">
                  <a:solidFill>
                    <a:schemeClr val="bg1"/>
                  </a:solidFill>
                </a:rPr>
                <a:t>Module</a:t>
              </a:r>
            </a:p>
          </p:txBody>
        </p:sp>
        <p:sp>
          <p:nvSpPr>
            <p:cNvPr id="25" name="Rectangle 24">
              <a:extLst>
                <a:ext uri="{FF2B5EF4-FFF2-40B4-BE49-F238E27FC236}">
                  <a16:creationId xmlns:a16="http://schemas.microsoft.com/office/drawing/2014/main" id="{1C63C228-F474-474D-A718-975304BD2E91}"/>
                </a:ext>
              </a:extLst>
            </p:cNvPr>
            <p:cNvSpPr/>
            <p:nvPr/>
          </p:nvSpPr>
          <p:spPr>
            <a:xfrm>
              <a:off x="6961063" y="4538339"/>
              <a:ext cx="2407702" cy="357508"/>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a:t>File</a:t>
              </a:r>
            </a:p>
          </p:txBody>
        </p:sp>
        <p:sp>
          <p:nvSpPr>
            <p:cNvPr id="26" name="Rectangle 25">
              <a:extLst>
                <a:ext uri="{FF2B5EF4-FFF2-40B4-BE49-F238E27FC236}">
                  <a16:creationId xmlns:a16="http://schemas.microsoft.com/office/drawing/2014/main" id="{0E48B604-A386-4AEC-8CD0-DEA2D5649803}"/>
                </a:ext>
              </a:extLst>
            </p:cNvPr>
            <p:cNvSpPr/>
            <p:nvPr/>
          </p:nvSpPr>
          <p:spPr>
            <a:xfrm>
              <a:off x="5973728" y="4538339"/>
              <a:ext cx="1027300" cy="357508"/>
            </a:xfrm>
            <a:prstGeom prst="rect">
              <a:avLst/>
            </a:prstGeom>
            <a:solidFill>
              <a:srgbClr val="7030A0"/>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dirty="0"/>
                <a:t>Resource</a:t>
              </a:r>
            </a:p>
          </p:txBody>
        </p:sp>
        <p:sp>
          <p:nvSpPr>
            <p:cNvPr id="27" name="Rectangle 26">
              <a:extLst>
                <a:ext uri="{FF2B5EF4-FFF2-40B4-BE49-F238E27FC236}">
                  <a16:creationId xmlns:a16="http://schemas.microsoft.com/office/drawing/2014/main" id="{3D268091-0A2A-43BE-8FEF-DCB32E04648C}"/>
                </a:ext>
              </a:extLst>
            </p:cNvPr>
            <p:cNvSpPr/>
            <p:nvPr/>
          </p:nvSpPr>
          <p:spPr>
            <a:xfrm>
              <a:off x="6961063" y="4981423"/>
              <a:ext cx="2407702" cy="357508"/>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a:t>Registry</a:t>
              </a:r>
            </a:p>
          </p:txBody>
        </p:sp>
        <p:sp>
          <p:nvSpPr>
            <p:cNvPr id="28" name="Rectangle 27">
              <a:extLst>
                <a:ext uri="{FF2B5EF4-FFF2-40B4-BE49-F238E27FC236}">
                  <a16:creationId xmlns:a16="http://schemas.microsoft.com/office/drawing/2014/main" id="{319A21E3-8273-4703-BEB6-297CAE7F4029}"/>
                </a:ext>
              </a:extLst>
            </p:cNvPr>
            <p:cNvSpPr/>
            <p:nvPr/>
          </p:nvSpPr>
          <p:spPr>
            <a:xfrm>
              <a:off x="5973728" y="4981423"/>
              <a:ext cx="1027300" cy="357508"/>
            </a:xfrm>
            <a:prstGeom prst="rect">
              <a:avLst/>
            </a:prstGeom>
            <a:solidFill>
              <a:srgbClr val="7030A0"/>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dirty="0"/>
                <a:t>Resource</a:t>
              </a:r>
            </a:p>
          </p:txBody>
        </p:sp>
        <p:sp>
          <p:nvSpPr>
            <p:cNvPr id="29" name="Rectangle 28">
              <a:extLst>
                <a:ext uri="{FF2B5EF4-FFF2-40B4-BE49-F238E27FC236}">
                  <a16:creationId xmlns:a16="http://schemas.microsoft.com/office/drawing/2014/main" id="{97FE630B-6426-422B-AE46-11F8C4A5166E}"/>
                </a:ext>
              </a:extLst>
            </p:cNvPr>
            <p:cNvSpPr/>
            <p:nvPr/>
          </p:nvSpPr>
          <p:spPr>
            <a:xfrm>
              <a:off x="6961063" y="5419396"/>
              <a:ext cx="2407702" cy="357508"/>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a:t>…</a:t>
              </a:r>
            </a:p>
          </p:txBody>
        </p:sp>
        <p:sp>
          <p:nvSpPr>
            <p:cNvPr id="30" name="Rectangle 29">
              <a:extLst>
                <a:ext uri="{FF2B5EF4-FFF2-40B4-BE49-F238E27FC236}">
                  <a16:creationId xmlns:a16="http://schemas.microsoft.com/office/drawing/2014/main" id="{931295F0-1C33-4F87-BE9B-60A81154F02F}"/>
                </a:ext>
              </a:extLst>
            </p:cNvPr>
            <p:cNvSpPr/>
            <p:nvPr/>
          </p:nvSpPr>
          <p:spPr>
            <a:xfrm>
              <a:off x="5973728" y="5419396"/>
              <a:ext cx="1027300" cy="357508"/>
            </a:xfrm>
            <a:prstGeom prst="rect">
              <a:avLst/>
            </a:prstGeom>
            <a:solidFill>
              <a:srgbClr val="7030A0"/>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dirty="0"/>
                <a:t>Resource</a:t>
              </a:r>
            </a:p>
          </p:txBody>
        </p:sp>
      </p:grpSp>
      <p:cxnSp>
        <p:nvCxnSpPr>
          <p:cNvPr id="31" name="Connector: Elbow 30">
            <a:extLst>
              <a:ext uri="{FF2B5EF4-FFF2-40B4-BE49-F238E27FC236}">
                <a16:creationId xmlns:a16="http://schemas.microsoft.com/office/drawing/2014/main" id="{3DE67EE8-511D-499D-8707-9BBF496A4339}"/>
              </a:ext>
            </a:extLst>
          </p:cNvPr>
          <p:cNvCxnSpPr>
            <a:cxnSpLocks/>
            <a:stCxn id="14" idx="3"/>
            <a:endCxn id="25" idx="3"/>
          </p:cNvCxnSpPr>
          <p:nvPr/>
        </p:nvCxnSpPr>
        <p:spPr>
          <a:xfrm>
            <a:off x="9753330" y="2200764"/>
            <a:ext cx="889076" cy="3194361"/>
          </a:xfrm>
          <a:prstGeom prst="bentConnector3">
            <a:avLst>
              <a:gd name="adj1" fmla="val 125712"/>
            </a:avLst>
          </a:prstGeom>
          <a:ln w="381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414B64B0-6B15-4F91-B5AE-88998FCF51A2}"/>
              </a:ext>
            </a:extLst>
          </p:cNvPr>
          <p:cNvCxnSpPr>
            <a:cxnSpLocks/>
            <a:endCxn id="17" idx="1"/>
          </p:cNvCxnSpPr>
          <p:nvPr/>
        </p:nvCxnSpPr>
        <p:spPr>
          <a:xfrm flipV="1">
            <a:off x="3457272" y="2643848"/>
            <a:ext cx="2940985" cy="2011228"/>
          </a:xfrm>
          <a:prstGeom prst="bentConnector3">
            <a:avLst>
              <a:gd name="adj1" fmla="val 42842"/>
            </a:avLst>
          </a:prstGeom>
          <a:ln w="381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544DA981-7B06-42D7-BFE1-DC473867E45A}"/>
              </a:ext>
            </a:extLst>
          </p:cNvPr>
          <p:cNvGrpSpPr/>
          <p:nvPr/>
        </p:nvGrpSpPr>
        <p:grpSpPr>
          <a:xfrm>
            <a:off x="1020544" y="1252792"/>
            <a:ext cx="2917383" cy="1890814"/>
            <a:chOff x="1244210" y="759406"/>
            <a:chExt cx="2917383" cy="1890814"/>
          </a:xfrm>
          <a:effectLst>
            <a:outerShdw blurRad="63500" sx="102000" sy="102000" algn="ctr" rotWithShape="0">
              <a:prstClr val="black">
                <a:alpha val="40000"/>
              </a:prstClr>
            </a:outerShdw>
          </a:effectLst>
        </p:grpSpPr>
        <p:grpSp>
          <p:nvGrpSpPr>
            <p:cNvPr id="35" name="Group 34">
              <a:extLst>
                <a:ext uri="{FF2B5EF4-FFF2-40B4-BE49-F238E27FC236}">
                  <a16:creationId xmlns:a16="http://schemas.microsoft.com/office/drawing/2014/main" id="{B4A7DDE4-A7F1-4E0E-BB30-38B2E91286A0}"/>
                </a:ext>
              </a:extLst>
            </p:cNvPr>
            <p:cNvGrpSpPr/>
            <p:nvPr/>
          </p:nvGrpSpPr>
          <p:grpSpPr>
            <a:xfrm>
              <a:off x="1244210" y="1132151"/>
              <a:ext cx="2917383" cy="1518069"/>
              <a:chOff x="6772439" y="512185"/>
              <a:chExt cx="4670573" cy="1518069"/>
            </a:xfrm>
          </p:grpSpPr>
          <p:grpSp>
            <p:nvGrpSpPr>
              <p:cNvPr id="37" name="Group 36">
                <a:extLst>
                  <a:ext uri="{FF2B5EF4-FFF2-40B4-BE49-F238E27FC236}">
                    <a16:creationId xmlns:a16="http://schemas.microsoft.com/office/drawing/2014/main" id="{4B0B500F-46E5-4F74-8A54-B5305B69C97C}"/>
                  </a:ext>
                </a:extLst>
              </p:cNvPr>
              <p:cNvGrpSpPr/>
              <p:nvPr/>
            </p:nvGrpSpPr>
            <p:grpSpPr>
              <a:xfrm>
                <a:off x="6772439" y="512185"/>
                <a:ext cx="4670573" cy="1504870"/>
                <a:chOff x="1355074" y="2225407"/>
                <a:chExt cx="3355073" cy="2455239"/>
              </a:xfrm>
            </p:grpSpPr>
            <p:sp>
              <p:nvSpPr>
                <p:cNvPr id="39" name="Rectangle 38">
                  <a:extLst>
                    <a:ext uri="{FF2B5EF4-FFF2-40B4-BE49-F238E27FC236}">
                      <a16:creationId xmlns:a16="http://schemas.microsoft.com/office/drawing/2014/main" id="{273CF672-8175-4D8B-9302-40DE59F09AAD}"/>
                    </a:ext>
                  </a:extLst>
                </p:cNvPr>
                <p:cNvSpPr/>
                <p:nvPr/>
              </p:nvSpPr>
              <p:spPr>
                <a:xfrm>
                  <a:off x="1355074" y="2807161"/>
                  <a:ext cx="3355073" cy="1873485"/>
                </a:xfrm>
                <a:prstGeom prst="rect">
                  <a:avLst/>
                </a:prstGeom>
                <a:solidFill>
                  <a:schemeClr val="bg1"/>
                </a:solidFill>
                <a:ln w="38100">
                  <a:solidFill>
                    <a:schemeClr val="accent4">
                      <a:lumMod val="75000"/>
                    </a:schemeClr>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EE34F721-857A-4570-AB50-4B1C1D8BE621}"/>
                    </a:ext>
                  </a:extLst>
                </p:cNvPr>
                <p:cNvSpPr/>
                <p:nvPr/>
              </p:nvSpPr>
              <p:spPr>
                <a:xfrm>
                  <a:off x="2302445" y="2225407"/>
                  <a:ext cx="2407702" cy="594911"/>
                </a:xfrm>
                <a:prstGeom prst="rect">
                  <a:avLst/>
                </a:prstGeom>
                <a:solidFill>
                  <a:schemeClr val="accent4">
                    <a:lumMod val="60000"/>
                    <a:lumOff val="40000"/>
                  </a:schemeClr>
                </a:solidFill>
                <a:ln w="38100">
                  <a:solidFill>
                    <a:schemeClr val="accent4">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b="1" dirty="0">
                      <a:solidFill>
                        <a:schemeClr val="bg1"/>
                      </a:solidFill>
                    </a:rPr>
                    <a:t>DscFile01</a:t>
                  </a:r>
                </a:p>
              </p:txBody>
            </p:sp>
            <p:sp>
              <p:nvSpPr>
                <p:cNvPr id="41" name="Rectangle 40">
                  <a:extLst>
                    <a:ext uri="{FF2B5EF4-FFF2-40B4-BE49-F238E27FC236}">
                      <a16:creationId xmlns:a16="http://schemas.microsoft.com/office/drawing/2014/main" id="{1350FEF9-8345-4F02-B6BC-8F447EB2AA7C}"/>
                    </a:ext>
                  </a:extLst>
                </p:cNvPr>
                <p:cNvSpPr/>
                <p:nvPr/>
              </p:nvSpPr>
              <p:spPr>
                <a:xfrm>
                  <a:off x="1355074" y="2225407"/>
                  <a:ext cx="947371" cy="594911"/>
                </a:xfrm>
                <a:prstGeom prst="rect">
                  <a:avLst/>
                </a:prstGeom>
                <a:solidFill>
                  <a:schemeClr val="accent4">
                    <a:lumMod val="60000"/>
                    <a:lumOff val="40000"/>
                  </a:schemeClr>
                </a:solidFill>
                <a:ln w="38100">
                  <a:solidFill>
                    <a:schemeClr val="accent4">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b="1" i="1" dirty="0">
                      <a:solidFill>
                        <a:schemeClr val="bg1"/>
                      </a:solidFill>
                    </a:rPr>
                    <a:t>DATA</a:t>
                  </a:r>
                </a:p>
              </p:txBody>
            </p:sp>
          </p:grpSp>
          <p:sp>
            <p:nvSpPr>
              <p:cNvPr id="38" name="TextBox 37">
                <a:extLst>
                  <a:ext uri="{FF2B5EF4-FFF2-40B4-BE49-F238E27FC236}">
                    <a16:creationId xmlns:a16="http://schemas.microsoft.com/office/drawing/2014/main" id="{47618B88-D53A-4BD5-A545-EF911FBD991C}"/>
                  </a:ext>
                </a:extLst>
              </p:cNvPr>
              <p:cNvSpPr txBox="1"/>
              <p:nvPr/>
            </p:nvSpPr>
            <p:spPr>
              <a:xfrm>
                <a:off x="6772439" y="953036"/>
                <a:ext cx="4589583" cy="1077218"/>
              </a:xfrm>
              <a:prstGeom prst="rect">
                <a:avLst/>
              </a:prstGeom>
              <a:noFill/>
            </p:spPr>
            <p:txBody>
              <a:bodyPr wrap="square" rtlCol="0">
                <a:spAutoFit/>
              </a:bodyPr>
              <a:lstStyle/>
              <a:p>
                <a:r>
                  <a:rPr lang="fr-FR" sz="1600" dirty="0">
                    <a:solidFill>
                      <a:srgbClr val="569CD6"/>
                    </a:solidFill>
                    <a:latin typeface="Consolas" panose="020B0609020204030204" pitchFamily="49" charset="0"/>
                  </a:rPr>
                  <a:t>Name:</a:t>
                </a:r>
                <a:r>
                  <a:rPr lang="fr-FR" sz="1600" dirty="0">
                    <a:solidFill>
                      <a:srgbClr val="FFFFFF"/>
                    </a:solidFill>
                    <a:latin typeface="Consolas" panose="020B0609020204030204" pitchFamily="49" charset="0"/>
                  </a:rPr>
                  <a:t>:</a:t>
                </a:r>
                <a:r>
                  <a:rPr lang="fr-FR" sz="1600" dirty="0">
                    <a:solidFill>
                      <a:srgbClr val="CE9178"/>
                    </a:solidFill>
                    <a:latin typeface="Consolas" panose="020B0609020204030204" pitchFamily="49" charset="0"/>
                  </a:rPr>
                  <a:t>DscFile01</a:t>
                </a:r>
                <a:endParaRPr lang="fr-FR" sz="1600" dirty="0">
                  <a:solidFill>
                    <a:srgbClr val="FFFFFF"/>
                  </a:solidFill>
                  <a:latin typeface="Consolas" panose="020B0609020204030204" pitchFamily="49" charset="0"/>
                </a:endParaRPr>
              </a:p>
              <a:p>
                <a:r>
                  <a:rPr lang="fr-FR" sz="1600" dirty="0" err="1">
                    <a:solidFill>
                      <a:srgbClr val="569CD6"/>
                    </a:solidFill>
                    <a:latin typeface="Consolas" panose="020B0609020204030204" pitchFamily="49" charset="0"/>
                  </a:rPr>
                  <a:t>Role</a:t>
                </a:r>
                <a:r>
                  <a:rPr lang="fr-FR" sz="1600" dirty="0">
                    <a:solidFill>
                      <a:srgbClr val="569CD6"/>
                    </a:solidFill>
                    <a:latin typeface="Consolas" panose="020B0609020204030204" pitchFamily="49" charset="0"/>
                  </a:rPr>
                  <a:t>:</a:t>
                </a:r>
                <a:r>
                  <a:rPr lang="fr-FR" sz="1600" dirty="0">
                    <a:solidFill>
                      <a:srgbClr val="FFFFFF"/>
                    </a:solidFill>
                    <a:latin typeface="Consolas" panose="020B0609020204030204" pitchFamily="49" charset="0"/>
                  </a:rPr>
                  <a:t>:</a:t>
                </a:r>
                <a:r>
                  <a:rPr lang="fr-FR" sz="1600" dirty="0" err="1">
                    <a:solidFill>
                      <a:srgbClr val="CE9178"/>
                    </a:solidFill>
                    <a:latin typeface="Consolas" panose="020B0609020204030204" pitchFamily="49" charset="0"/>
                  </a:rPr>
                  <a:t>FileServer</a:t>
                </a:r>
                <a:endParaRPr lang="fr-FR" sz="1600" dirty="0">
                  <a:solidFill>
                    <a:srgbClr val="FFFFFF"/>
                  </a:solidFill>
                  <a:latin typeface="Consolas" panose="020B0609020204030204" pitchFamily="49" charset="0"/>
                </a:endParaRPr>
              </a:p>
              <a:p>
                <a:r>
                  <a:rPr lang="fr-FR" sz="1600" dirty="0">
                    <a:solidFill>
                      <a:srgbClr val="569CD6"/>
                    </a:solidFill>
                    <a:latin typeface="Consolas" panose="020B0609020204030204" pitchFamily="49" charset="0"/>
                  </a:rPr>
                  <a:t>Location: </a:t>
                </a:r>
                <a:r>
                  <a:rPr lang="fr-FR" sz="1600" dirty="0">
                    <a:solidFill>
                      <a:srgbClr val="CE9178"/>
                    </a:solidFill>
                    <a:latin typeface="Consolas" panose="020B0609020204030204" pitchFamily="49" charset="0"/>
                  </a:rPr>
                  <a:t>Frankfurt</a:t>
                </a:r>
                <a:endParaRPr lang="fr-FR" sz="1600" dirty="0">
                  <a:solidFill>
                    <a:srgbClr val="FFFFFF"/>
                  </a:solidFill>
                  <a:latin typeface="Consolas" panose="020B0609020204030204" pitchFamily="49" charset="0"/>
                </a:endParaRPr>
              </a:p>
              <a:p>
                <a:r>
                  <a:rPr lang="fr-FR" sz="1600" dirty="0" err="1">
                    <a:solidFill>
                      <a:srgbClr val="569CD6"/>
                    </a:solidFill>
                    <a:latin typeface="Consolas" panose="020B0609020204030204" pitchFamily="49" charset="0"/>
                  </a:rPr>
                  <a:t>Environment</a:t>
                </a:r>
                <a:r>
                  <a:rPr lang="fr-FR" sz="1600" dirty="0">
                    <a:solidFill>
                      <a:srgbClr val="569CD6"/>
                    </a:solidFill>
                    <a:latin typeface="Consolas" panose="020B0609020204030204" pitchFamily="49" charset="0"/>
                  </a:rPr>
                  <a:t>:</a:t>
                </a:r>
                <a:r>
                  <a:rPr lang="fr-FR" sz="1600" dirty="0">
                    <a:solidFill>
                      <a:srgbClr val="FFFFFF"/>
                    </a:solidFill>
                    <a:latin typeface="Consolas" panose="020B0609020204030204" pitchFamily="49" charset="0"/>
                  </a:rPr>
                  <a:t> </a:t>
                </a:r>
                <a:r>
                  <a:rPr lang="fr-FR" sz="1600" dirty="0">
                    <a:solidFill>
                      <a:srgbClr val="CE9178"/>
                    </a:solidFill>
                    <a:latin typeface="Consolas" panose="020B0609020204030204" pitchFamily="49" charset="0"/>
                  </a:rPr>
                  <a:t>Dev</a:t>
                </a:r>
                <a:endParaRPr lang="fr-FR" sz="1600" b="0" dirty="0">
                  <a:solidFill>
                    <a:srgbClr val="FFFFFF"/>
                  </a:solidFill>
                  <a:effectLst/>
                  <a:latin typeface="Consolas" panose="020B0609020204030204" pitchFamily="49" charset="0"/>
                </a:endParaRPr>
              </a:p>
            </p:txBody>
          </p:sp>
        </p:grpSp>
        <p:sp>
          <p:nvSpPr>
            <p:cNvPr id="36" name="TextBox 35">
              <a:extLst>
                <a:ext uri="{FF2B5EF4-FFF2-40B4-BE49-F238E27FC236}">
                  <a16:creationId xmlns:a16="http://schemas.microsoft.com/office/drawing/2014/main" id="{31D15366-8DFD-42E1-9ABF-DDD00F868005}"/>
                </a:ext>
              </a:extLst>
            </p:cNvPr>
            <p:cNvSpPr txBox="1"/>
            <p:nvPr/>
          </p:nvSpPr>
          <p:spPr>
            <a:xfrm>
              <a:off x="1244210" y="759406"/>
              <a:ext cx="2917383" cy="369332"/>
            </a:xfrm>
            <a:prstGeom prst="rect">
              <a:avLst/>
            </a:prstGeom>
            <a:solidFill>
              <a:schemeClr val="accent6">
                <a:lumMod val="50000"/>
              </a:schemeClr>
            </a:solidFill>
            <a:ln w="38100">
              <a:solidFill>
                <a:schemeClr val="accent4">
                  <a:lumMod val="75000"/>
                </a:schemeClr>
              </a:solidFill>
            </a:ln>
          </p:spPr>
          <p:txBody>
            <a:bodyPr wrap="square" rtlCol="0">
              <a:spAutoFit/>
            </a:bodyPr>
            <a:lstStyle/>
            <a:p>
              <a:r>
                <a:rPr lang="en-GB" b="1" i="1" dirty="0"/>
                <a:t>      NODE DEFINITION</a:t>
              </a:r>
            </a:p>
          </p:txBody>
        </p:sp>
      </p:grpSp>
      <p:cxnSp>
        <p:nvCxnSpPr>
          <p:cNvPr id="42" name="Connector: Elbow 41">
            <a:extLst>
              <a:ext uri="{FF2B5EF4-FFF2-40B4-BE49-F238E27FC236}">
                <a16:creationId xmlns:a16="http://schemas.microsoft.com/office/drawing/2014/main" id="{59C25F48-BE46-494E-96BE-99BCB83BD72A}"/>
              </a:ext>
            </a:extLst>
          </p:cNvPr>
          <p:cNvCxnSpPr>
            <a:cxnSpLocks/>
          </p:cNvCxnSpPr>
          <p:nvPr/>
        </p:nvCxnSpPr>
        <p:spPr>
          <a:xfrm rot="16200000" flipH="1">
            <a:off x="2916663" y="2563774"/>
            <a:ext cx="1319720" cy="1122360"/>
          </a:xfrm>
          <a:prstGeom prst="bentConnector3">
            <a:avLst>
              <a:gd name="adj1" fmla="val 509"/>
            </a:avLst>
          </a:prstGeom>
          <a:ln w="381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ACB15488-3521-44A9-8D49-F2B6FFE533BF}"/>
              </a:ext>
            </a:extLst>
          </p:cNvPr>
          <p:cNvSpPr txBox="1"/>
          <p:nvPr/>
        </p:nvSpPr>
        <p:spPr>
          <a:xfrm>
            <a:off x="1131901" y="6457651"/>
            <a:ext cx="5246373" cy="369332"/>
          </a:xfrm>
          <a:prstGeom prst="rect">
            <a:avLst/>
          </a:prstGeom>
          <a:noFill/>
        </p:spPr>
        <p:txBody>
          <a:bodyPr wrap="none" rtlCol="0">
            <a:spAutoFit/>
          </a:bodyPr>
          <a:lstStyle/>
          <a:p>
            <a:r>
              <a:rPr lang="en-GB" dirty="0"/>
              <a:t>Adapted from </a:t>
            </a:r>
            <a:r>
              <a:rPr lang="en-GB" dirty="0">
                <a:hlinkClick r:id="rId3"/>
              </a:rPr>
              <a:t>Puppet’s Roles &amp; Profiles</a:t>
            </a:r>
            <a:r>
              <a:rPr lang="en-GB" dirty="0"/>
              <a:t>, by </a:t>
            </a:r>
            <a:r>
              <a:rPr lang="en-GB" dirty="0">
                <a:hlinkClick r:id="rId4"/>
              </a:rPr>
              <a:t>Craig Dunn</a:t>
            </a:r>
            <a:endParaRPr lang="en-GB" dirty="0"/>
          </a:p>
        </p:txBody>
      </p:sp>
      <p:grpSp>
        <p:nvGrpSpPr>
          <p:cNvPr id="44" name="Group 43">
            <a:extLst>
              <a:ext uri="{FF2B5EF4-FFF2-40B4-BE49-F238E27FC236}">
                <a16:creationId xmlns:a16="http://schemas.microsoft.com/office/drawing/2014/main" id="{3FA4198F-856D-4A8D-9578-3FD2C785EB41}"/>
              </a:ext>
            </a:extLst>
          </p:cNvPr>
          <p:cNvGrpSpPr/>
          <p:nvPr/>
        </p:nvGrpSpPr>
        <p:grpSpPr>
          <a:xfrm>
            <a:off x="4889003" y="2822603"/>
            <a:ext cx="3660476" cy="3223372"/>
            <a:chOff x="4889003" y="2822603"/>
            <a:chExt cx="3660476" cy="3223372"/>
          </a:xfrm>
        </p:grpSpPr>
        <p:grpSp>
          <p:nvGrpSpPr>
            <p:cNvPr id="45" name="Group 44">
              <a:extLst>
                <a:ext uri="{FF2B5EF4-FFF2-40B4-BE49-F238E27FC236}">
                  <a16:creationId xmlns:a16="http://schemas.microsoft.com/office/drawing/2014/main" id="{9247BE2F-9760-4F39-8F45-906F017ED731}"/>
                </a:ext>
              </a:extLst>
            </p:cNvPr>
            <p:cNvGrpSpPr/>
            <p:nvPr/>
          </p:nvGrpSpPr>
          <p:grpSpPr>
            <a:xfrm>
              <a:off x="4889003" y="2822603"/>
              <a:ext cx="3660476" cy="3223372"/>
              <a:chOff x="4889003" y="2822603"/>
              <a:chExt cx="3660476" cy="3223372"/>
            </a:xfrm>
          </p:grpSpPr>
          <p:cxnSp>
            <p:nvCxnSpPr>
              <p:cNvPr id="47" name="Connector: Elbow 46">
                <a:extLst>
                  <a:ext uri="{FF2B5EF4-FFF2-40B4-BE49-F238E27FC236}">
                    <a16:creationId xmlns:a16="http://schemas.microsoft.com/office/drawing/2014/main" id="{909E2B96-2B01-4A2F-9F84-1B821F018CBA}"/>
                  </a:ext>
                </a:extLst>
              </p:cNvPr>
              <p:cNvCxnSpPr>
                <a:cxnSpLocks/>
                <a:stCxn id="48" idx="1"/>
                <a:endCxn id="16" idx="2"/>
              </p:cNvCxnSpPr>
              <p:nvPr/>
            </p:nvCxnSpPr>
            <p:spPr>
              <a:xfrm rot="10800000" flipH="1">
                <a:off x="5415277" y="2822603"/>
                <a:ext cx="3134202" cy="2751277"/>
              </a:xfrm>
              <a:prstGeom prst="bentConnector4">
                <a:avLst>
                  <a:gd name="adj1" fmla="val 31746"/>
                  <a:gd name="adj2" fmla="val 58580"/>
                </a:avLst>
              </a:prstGeom>
              <a:ln w="381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8" name="Right Brace 47">
                <a:extLst>
                  <a:ext uri="{FF2B5EF4-FFF2-40B4-BE49-F238E27FC236}">
                    <a16:creationId xmlns:a16="http://schemas.microsoft.com/office/drawing/2014/main" id="{9D8160EA-C363-42BF-B1F0-08787BF731DE}"/>
                  </a:ext>
                </a:extLst>
              </p:cNvPr>
              <p:cNvSpPr/>
              <p:nvPr/>
            </p:nvSpPr>
            <p:spPr>
              <a:xfrm>
                <a:off x="4889003" y="5101783"/>
                <a:ext cx="526274" cy="944192"/>
              </a:xfrm>
              <a:prstGeom prst="righ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
          <p:nvSpPr>
            <p:cNvPr id="46" name="TextBox 45">
              <a:extLst>
                <a:ext uri="{FF2B5EF4-FFF2-40B4-BE49-F238E27FC236}">
                  <a16:creationId xmlns:a16="http://schemas.microsoft.com/office/drawing/2014/main" id="{CC272A32-4952-4BA5-BD61-1EEDDD071A87}"/>
                </a:ext>
              </a:extLst>
            </p:cNvPr>
            <p:cNvSpPr txBox="1"/>
            <p:nvPr/>
          </p:nvSpPr>
          <p:spPr>
            <a:xfrm>
              <a:off x="6738329" y="3597798"/>
              <a:ext cx="1389515" cy="369332"/>
            </a:xfrm>
            <a:prstGeom prst="rect">
              <a:avLst/>
            </a:prstGeom>
            <a:noFill/>
            <a:ln>
              <a:solidFill>
                <a:schemeClr val="bg1"/>
              </a:solidFill>
            </a:ln>
          </p:spPr>
          <p:txBody>
            <a:bodyPr wrap="square" rtlCol="0">
              <a:spAutoFit/>
            </a:bodyPr>
            <a:lstStyle/>
            <a:p>
              <a:r>
                <a:rPr lang="en-GB" dirty="0"/>
                <a:t>parameters</a:t>
              </a:r>
            </a:p>
          </p:txBody>
        </p:sp>
      </p:grpSp>
      <p:cxnSp>
        <p:nvCxnSpPr>
          <p:cNvPr id="49" name="Connector: Elbow 48">
            <a:extLst>
              <a:ext uri="{FF2B5EF4-FFF2-40B4-BE49-F238E27FC236}">
                <a16:creationId xmlns:a16="http://schemas.microsoft.com/office/drawing/2014/main" id="{395DBF70-6203-450F-85CF-EE445AE41E0C}"/>
              </a:ext>
            </a:extLst>
          </p:cNvPr>
          <p:cNvCxnSpPr>
            <a:cxnSpLocks/>
            <a:stCxn id="16" idx="3"/>
          </p:cNvCxnSpPr>
          <p:nvPr/>
        </p:nvCxnSpPr>
        <p:spPr>
          <a:xfrm>
            <a:off x="9753330" y="2643848"/>
            <a:ext cx="581231" cy="3198493"/>
          </a:xfrm>
          <a:prstGeom prst="bentConnector2">
            <a:avLst/>
          </a:prstGeom>
          <a:ln w="381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28828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47"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1000"/>
                                        <p:tgtEl>
                                          <p:spTgt spid="12"/>
                                        </p:tgtEl>
                                      </p:cBhvr>
                                    </p:animEffect>
                                    <p:anim calcmode="lin" valueType="num">
                                      <p:cBhvr>
                                        <p:cTn id="17" dur="1000" fill="hold"/>
                                        <p:tgtEl>
                                          <p:spTgt spid="12"/>
                                        </p:tgtEl>
                                        <p:attrNameLst>
                                          <p:attrName>ppt_x</p:attrName>
                                        </p:attrNameLst>
                                      </p:cBhvr>
                                      <p:tavLst>
                                        <p:tav tm="0">
                                          <p:val>
                                            <p:strVal val="#ppt_x"/>
                                          </p:val>
                                        </p:tav>
                                        <p:tav tm="100000">
                                          <p:val>
                                            <p:strVal val="#ppt_x"/>
                                          </p:val>
                                        </p:tav>
                                      </p:tavLst>
                                    </p:anim>
                                    <p:anim calcmode="lin" valueType="num">
                                      <p:cBhvr>
                                        <p:cTn id="18"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childTnLst>
                    </p:cTn>
                  </p:par>
                  <p:par>
                    <p:cTn id="24" fill="hold">
                      <p:stCondLst>
                        <p:cond delay="indefinite"/>
                      </p:stCondLst>
                      <p:childTnLst>
                        <p:par>
                          <p:cTn id="25" fill="hold">
                            <p:stCondLst>
                              <p:cond delay="0"/>
                            </p:stCondLst>
                            <p:childTnLst>
                              <p:par>
                                <p:cTn id="26" presetID="2" presetClass="entr" presetSubtype="8"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 calcmode="lin" valueType="num">
                                      <p:cBhvr additive="base">
                                        <p:cTn id="28" dur="500" fill="hold"/>
                                        <p:tgtEl>
                                          <p:spTgt spid="4"/>
                                        </p:tgtEl>
                                        <p:attrNameLst>
                                          <p:attrName>ppt_x</p:attrName>
                                        </p:attrNameLst>
                                      </p:cBhvr>
                                      <p:tavLst>
                                        <p:tav tm="0">
                                          <p:val>
                                            <p:strVal val="0-#ppt_w/2"/>
                                          </p:val>
                                        </p:tav>
                                        <p:tav tm="100000">
                                          <p:val>
                                            <p:strVal val="#ppt_x"/>
                                          </p:val>
                                        </p:tav>
                                      </p:tavLst>
                                    </p:anim>
                                    <p:anim calcmode="lin" valueType="num">
                                      <p:cBhvr additive="base">
                                        <p:cTn id="29"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500"/>
                                        <p:tgtEl>
                                          <p:spTgt spid="3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42"/>
                                        </p:tgtEl>
                                        <p:attrNameLst>
                                          <p:attrName>style.visibility</p:attrName>
                                        </p:attrNameLst>
                                      </p:cBhvr>
                                      <p:to>
                                        <p:strVal val="visible"/>
                                      </p:to>
                                    </p:set>
                                    <p:animEffect transition="in" filter="fade">
                                      <p:cBhvr>
                                        <p:cTn id="39" dur="500"/>
                                        <p:tgtEl>
                                          <p:spTgt spid="4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9"/>
                                        </p:tgtEl>
                                        <p:attrNameLst>
                                          <p:attrName>style.visibility</p:attrName>
                                        </p:attrNameLst>
                                      </p:cBhvr>
                                      <p:to>
                                        <p:strVal val="visible"/>
                                      </p:to>
                                    </p:set>
                                    <p:animEffect transition="in" filter="fade">
                                      <p:cBhvr>
                                        <p:cTn id="49"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E381F8E-136A-9F6A-5074-1DBF37A9F9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8467" y="2744714"/>
            <a:ext cx="9455063" cy="2190556"/>
          </a:xfrm>
          <a:prstGeom prst="rect">
            <a:avLst/>
          </a:prstGeom>
        </p:spPr>
      </p:pic>
      <p:sp>
        <p:nvSpPr>
          <p:cNvPr id="4" name="ZoneTexte 3">
            <a:extLst>
              <a:ext uri="{FF2B5EF4-FFF2-40B4-BE49-F238E27FC236}">
                <a16:creationId xmlns:a16="http://schemas.microsoft.com/office/drawing/2014/main" id="{4A29EDF8-8A5D-99AD-DFF1-C98BB06E6164}"/>
              </a:ext>
            </a:extLst>
          </p:cNvPr>
          <p:cNvSpPr txBox="1"/>
          <p:nvPr/>
        </p:nvSpPr>
        <p:spPr>
          <a:xfrm>
            <a:off x="1052186" y="1689100"/>
            <a:ext cx="9889299" cy="707886"/>
          </a:xfrm>
          <a:prstGeom prst="rect">
            <a:avLst/>
          </a:prstGeom>
          <a:noFill/>
        </p:spPr>
        <p:txBody>
          <a:bodyPr wrap="square" rtlCol="0">
            <a:spAutoFit/>
          </a:bodyPr>
          <a:lstStyle/>
          <a:p>
            <a:r>
              <a:rPr lang="fr-FR" sz="4000" b="1" err="1">
                <a:solidFill>
                  <a:srgbClr val="346296"/>
                </a:solidFill>
              </a:rPr>
              <a:t>Many</a:t>
            </a:r>
            <a:r>
              <a:rPr lang="fr-FR" sz="4000" b="1">
                <a:solidFill>
                  <a:srgbClr val="346296"/>
                </a:solidFill>
              </a:rPr>
              <a:t> </a:t>
            </a:r>
            <a:r>
              <a:rPr lang="fr-FR" sz="4000" b="1" err="1">
                <a:solidFill>
                  <a:srgbClr val="346296"/>
                </a:solidFill>
              </a:rPr>
              <a:t>thanks</a:t>
            </a:r>
            <a:r>
              <a:rPr lang="fr-FR" sz="4000" b="1">
                <a:solidFill>
                  <a:srgbClr val="346296"/>
                </a:solidFill>
              </a:rPr>
              <a:t> to </a:t>
            </a:r>
            <a:r>
              <a:rPr lang="fr-FR" sz="4000" b="1" err="1">
                <a:solidFill>
                  <a:srgbClr val="346296"/>
                </a:solidFill>
              </a:rPr>
              <a:t>our</a:t>
            </a:r>
            <a:r>
              <a:rPr lang="fr-FR" sz="4000" b="1">
                <a:solidFill>
                  <a:srgbClr val="346296"/>
                </a:solidFill>
              </a:rPr>
              <a:t> sponsors:</a:t>
            </a:r>
          </a:p>
        </p:txBody>
      </p:sp>
    </p:spTree>
    <p:extLst>
      <p:ext uri="{BB962C8B-B14F-4D97-AF65-F5344CB8AC3E}">
        <p14:creationId xmlns:p14="http://schemas.microsoft.com/office/powerpoint/2010/main" val="398483575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3E8A5-A0B0-4C8B-ACA5-651873EA8438}"/>
              </a:ext>
            </a:extLst>
          </p:cNvPr>
          <p:cNvSpPr>
            <a:spLocks noGrp="1"/>
          </p:cNvSpPr>
          <p:nvPr>
            <p:ph type="title"/>
          </p:nvPr>
        </p:nvSpPr>
        <p:spPr>
          <a:xfrm>
            <a:off x="566804" y="3035808"/>
            <a:ext cx="7233211" cy="498598"/>
          </a:xfrm>
        </p:spPr>
        <p:txBody>
          <a:bodyPr/>
          <a:lstStyle/>
          <a:p>
            <a:r>
              <a:rPr lang="en-US" dirty="0"/>
              <a:t>Demo: Datum Hierarchical Data</a:t>
            </a:r>
            <a:endParaRPr lang="LID4096" dirty="0"/>
          </a:p>
        </p:txBody>
      </p:sp>
    </p:spTree>
    <p:extLst>
      <p:ext uri="{BB962C8B-B14F-4D97-AF65-F5344CB8AC3E}">
        <p14:creationId xmlns:p14="http://schemas.microsoft.com/office/powerpoint/2010/main" val="393578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3E8A5-A0B0-4C8B-ACA5-651873EA8438}"/>
              </a:ext>
            </a:extLst>
          </p:cNvPr>
          <p:cNvSpPr>
            <a:spLocks noGrp="1"/>
          </p:cNvSpPr>
          <p:nvPr>
            <p:ph type="title"/>
          </p:nvPr>
        </p:nvSpPr>
        <p:spPr>
          <a:xfrm>
            <a:off x="566804" y="3035808"/>
            <a:ext cx="7233211" cy="498598"/>
          </a:xfrm>
        </p:spPr>
        <p:txBody>
          <a:bodyPr/>
          <a:lstStyle/>
          <a:p>
            <a:r>
              <a:rPr lang="en-US" dirty="0"/>
              <a:t>Demo: DSC Artefacts</a:t>
            </a:r>
            <a:endParaRPr lang="LID4096" dirty="0"/>
          </a:p>
        </p:txBody>
      </p:sp>
    </p:spTree>
    <p:extLst>
      <p:ext uri="{BB962C8B-B14F-4D97-AF65-F5344CB8AC3E}">
        <p14:creationId xmlns:p14="http://schemas.microsoft.com/office/powerpoint/2010/main" val="109961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D1F24-0E42-4CEB-8F7B-D9267C83299F}"/>
              </a:ext>
            </a:extLst>
          </p:cNvPr>
          <p:cNvSpPr>
            <a:spLocks noGrp="1"/>
          </p:cNvSpPr>
          <p:nvPr>
            <p:ph type="title"/>
          </p:nvPr>
        </p:nvSpPr>
        <p:spPr>
          <a:xfrm>
            <a:off x="585216" y="3035808"/>
            <a:ext cx="9141397" cy="997196"/>
          </a:xfrm>
        </p:spPr>
        <p:txBody>
          <a:bodyPr/>
          <a:lstStyle/>
          <a:p>
            <a:r>
              <a:rPr lang="en-US" dirty="0"/>
              <a:t>Delivering the change:</a:t>
            </a:r>
            <a:br>
              <a:rPr lang="en-US" dirty="0"/>
            </a:br>
            <a:r>
              <a:rPr lang="en-US" dirty="0"/>
              <a:t>CI/CD Infrastructure Release Pipeline</a:t>
            </a:r>
          </a:p>
        </p:txBody>
      </p:sp>
    </p:spTree>
    <p:extLst>
      <p:ext uri="{BB962C8B-B14F-4D97-AF65-F5344CB8AC3E}">
        <p14:creationId xmlns:p14="http://schemas.microsoft.com/office/powerpoint/2010/main" val="92982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784E9-0445-4531-B92F-2D4E69D540FD}"/>
              </a:ext>
            </a:extLst>
          </p:cNvPr>
          <p:cNvSpPr>
            <a:spLocks noGrp="1"/>
          </p:cNvSpPr>
          <p:nvPr>
            <p:ph type="title"/>
          </p:nvPr>
        </p:nvSpPr>
        <p:spPr>
          <a:xfrm>
            <a:off x="588263" y="230772"/>
            <a:ext cx="11018520" cy="1107996"/>
          </a:xfrm>
        </p:spPr>
        <p:txBody>
          <a:bodyPr/>
          <a:lstStyle/>
          <a:p>
            <a:r>
              <a:rPr lang="en-GB" b="1" dirty="0"/>
              <a:t>What makes a good Solution?</a:t>
            </a:r>
            <a:br>
              <a:rPr lang="en-GB" b="1" dirty="0"/>
            </a:br>
            <a:endParaRPr lang="en-US" dirty="0"/>
          </a:p>
        </p:txBody>
      </p:sp>
      <p:sp>
        <p:nvSpPr>
          <p:cNvPr id="5" name="Subtitle 4">
            <a:extLst>
              <a:ext uri="{FF2B5EF4-FFF2-40B4-BE49-F238E27FC236}">
                <a16:creationId xmlns:a16="http://schemas.microsoft.com/office/drawing/2014/main" id="{01DE25FA-9D77-49E2-A616-E121994A25E1}"/>
              </a:ext>
            </a:extLst>
          </p:cNvPr>
          <p:cNvSpPr txBox="1">
            <a:spLocks/>
          </p:cNvSpPr>
          <p:nvPr/>
        </p:nvSpPr>
        <p:spPr>
          <a:xfrm>
            <a:off x="912472" y="1349830"/>
            <a:ext cx="6252635" cy="7924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t>Solving the right problem.</a:t>
            </a:r>
          </a:p>
        </p:txBody>
      </p:sp>
      <p:sp>
        <p:nvSpPr>
          <p:cNvPr id="6" name="Content Placeholder 6">
            <a:extLst>
              <a:ext uri="{FF2B5EF4-FFF2-40B4-BE49-F238E27FC236}">
                <a16:creationId xmlns:a16="http://schemas.microsoft.com/office/drawing/2014/main" id="{E1C3C28F-1274-4F2C-837C-66277D055E42}"/>
              </a:ext>
            </a:extLst>
          </p:cNvPr>
          <p:cNvSpPr txBox="1">
            <a:spLocks/>
          </p:cNvSpPr>
          <p:nvPr/>
        </p:nvSpPr>
        <p:spPr>
          <a:xfrm>
            <a:off x="5672831" y="2330725"/>
            <a:ext cx="6309135" cy="4351338"/>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a:t>Adaptability: be able to change</a:t>
            </a:r>
          </a:p>
          <a:p>
            <a:r>
              <a:rPr lang="en-GB"/>
              <a:t>Predictability, Reliability</a:t>
            </a:r>
          </a:p>
          <a:p>
            <a:r>
              <a:rPr lang="en-GB"/>
              <a:t>Cognitive load / Working Memory</a:t>
            </a:r>
          </a:p>
          <a:p>
            <a:r>
              <a:rPr lang="en-GB"/>
              <a:t>Single point of failure (Bus factor)</a:t>
            </a:r>
          </a:p>
          <a:p>
            <a:r>
              <a:rPr lang="en-GB"/>
              <a:t>Collaboration Challenge</a:t>
            </a:r>
          </a:p>
          <a:p>
            <a:pPr lvl="1"/>
            <a:r>
              <a:rPr lang="en-GB"/>
              <a:t>Traceability of changes</a:t>
            </a:r>
          </a:p>
          <a:p>
            <a:pPr lvl="1"/>
            <a:r>
              <a:rPr lang="en-GB"/>
              <a:t>Knowledge sharing &amp; Feedback</a:t>
            </a:r>
          </a:p>
          <a:p>
            <a:pPr lvl="1"/>
            <a:r>
              <a:rPr lang="en-GB"/>
              <a:t>Documentation</a:t>
            </a:r>
          </a:p>
          <a:p>
            <a:r>
              <a:rPr lang="en-GB"/>
              <a:t>Silo-isation</a:t>
            </a:r>
          </a:p>
          <a:p>
            <a:endParaRPr lang="en-GB" dirty="0"/>
          </a:p>
        </p:txBody>
      </p:sp>
      <p:pic>
        <p:nvPicPr>
          <p:cNvPr id="7" name="Picture 6">
            <a:extLst>
              <a:ext uri="{FF2B5EF4-FFF2-40B4-BE49-F238E27FC236}">
                <a16:creationId xmlns:a16="http://schemas.microsoft.com/office/drawing/2014/main" id="{DF16A0BE-53CF-4BDD-9E51-6AF95F7241A1}"/>
              </a:ext>
            </a:extLst>
          </p:cNvPr>
          <p:cNvPicPr>
            <a:picLocks noChangeAspect="1"/>
          </p:cNvPicPr>
          <p:nvPr/>
        </p:nvPicPr>
        <p:blipFill>
          <a:blip r:embed="rId2"/>
          <a:stretch>
            <a:fillRect/>
          </a:stretch>
        </p:blipFill>
        <p:spPr>
          <a:xfrm>
            <a:off x="150471" y="3330488"/>
            <a:ext cx="2753846" cy="2757352"/>
          </a:xfrm>
          <a:prstGeom prst="rect">
            <a:avLst/>
          </a:prstGeom>
        </p:spPr>
      </p:pic>
      <p:pic>
        <p:nvPicPr>
          <p:cNvPr id="8" name="Picture 7">
            <a:extLst>
              <a:ext uri="{FF2B5EF4-FFF2-40B4-BE49-F238E27FC236}">
                <a16:creationId xmlns:a16="http://schemas.microsoft.com/office/drawing/2014/main" id="{93313F42-47B5-4EE0-9C52-01E8D6F38728}"/>
              </a:ext>
            </a:extLst>
          </p:cNvPr>
          <p:cNvPicPr>
            <a:picLocks noChangeAspect="1"/>
          </p:cNvPicPr>
          <p:nvPr/>
        </p:nvPicPr>
        <p:blipFill>
          <a:blip r:embed="rId3"/>
          <a:stretch>
            <a:fillRect/>
          </a:stretch>
        </p:blipFill>
        <p:spPr>
          <a:xfrm>
            <a:off x="3252734" y="2464569"/>
            <a:ext cx="1572112" cy="1821184"/>
          </a:xfrm>
          <a:prstGeom prst="rect">
            <a:avLst/>
          </a:prstGeom>
        </p:spPr>
      </p:pic>
      <p:pic>
        <p:nvPicPr>
          <p:cNvPr id="9" name="Picture 8">
            <a:extLst>
              <a:ext uri="{FF2B5EF4-FFF2-40B4-BE49-F238E27FC236}">
                <a16:creationId xmlns:a16="http://schemas.microsoft.com/office/drawing/2014/main" id="{ED9C23EA-0896-4495-BC38-DA568E38B02F}"/>
              </a:ext>
            </a:extLst>
          </p:cNvPr>
          <p:cNvPicPr>
            <a:picLocks noChangeAspect="1"/>
          </p:cNvPicPr>
          <p:nvPr/>
        </p:nvPicPr>
        <p:blipFill>
          <a:blip r:embed="rId4"/>
          <a:stretch>
            <a:fillRect/>
          </a:stretch>
        </p:blipFill>
        <p:spPr>
          <a:xfrm>
            <a:off x="3286601" y="5088926"/>
            <a:ext cx="1504378" cy="1775323"/>
          </a:xfrm>
          <a:prstGeom prst="rect">
            <a:avLst/>
          </a:prstGeom>
        </p:spPr>
      </p:pic>
      <p:sp>
        <p:nvSpPr>
          <p:cNvPr id="10" name="Arrow: Right 9">
            <a:extLst>
              <a:ext uri="{FF2B5EF4-FFF2-40B4-BE49-F238E27FC236}">
                <a16:creationId xmlns:a16="http://schemas.microsoft.com/office/drawing/2014/main" id="{170EA3E5-C739-4BCC-8920-97A48A204B50}"/>
              </a:ext>
            </a:extLst>
          </p:cNvPr>
          <p:cNvSpPr/>
          <p:nvPr/>
        </p:nvSpPr>
        <p:spPr>
          <a:xfrm rot="19829279">
            <a:off x="2063453" y="338266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row: Right 10">
            <a:extLst>
              <a:ext uri="{FF2B5EF4-FFF2-40B4-BE49-F238E27FC236}">
                <a16:creationId xmlns:a16="http://schemas.microsoft.com/office/drawing/2014/main" id="{C87E9C8C-28EC-4C9B-813B-4FF33FEF942C}"/>
              </a:ext>
            </a:extLst>
          </p:cNvPr>
          <p:cNvSpPr/>
          <p:nvPr/>
        </p:nvSpPr>
        <p:spPr>
          <a:xfrm rot="1853728">
            <a:off x="2063453" y="5153022"/>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2F7E5F72-DA21-4905-A881-FFE814818C29}"/>
              </a:ext>
            </a:extLst>
          </p:cNvPr>
          <p:cNvSpPr/>
          <p:nvPr/>
        </p:nvSpPr>
        <p:spPr>
          <a:xfrm>
            <a:off x="5100595" y="1349830"/>
            <a:ext cx="7078926" cy="830997"/>
          </a:xfrm>
          <a:prstGeom prst="rect">
            <a:avLst/>
          </a:prstGeom>
        </p:spPr>
        <p:txBody>
          <a:bodyPr wrap="none">
            <a:spAutoFit/>
          </a:bodyPr>
          <a:lstStyle/>
          <a:p>
            <a:r>
              <a:rPr lang="en-GB" sz="2400" b="1" i="1" dirty="0">
                <a:latin typeface="medium-content-serif-font"/>
              </a:rPr>
              <a:t>“Any improvement not at the constraint is an illusion</a:t>
            </a:r>
            <a:r>
              <a:rPr lang="en-GB" sz="2400" b="1" dirty="0">
                <a:latin typeface="medium-content-serif-font"/>
              </a:rPr>
              <a:t>.”</a:t>
            </a:r>
            <a:br>
              <a:rPr lang="en-GB" sz="2400" b="1" dirty="0">
                <a:latin typeface="medium-content-serif-font"/>
              </a:rPr>
            </a:br>
            <a:r>
              <a:rPr lang="en-GB" sz="2400" b="1" dirty="0">
                <a:latin typeface="medium-content-serif-font"/>
              </a:rPr>
              <a:t> The Goal – Dr E. Goldratt</a:t>
            </a:r>
            <a:endParaRPr lang="en-GB" sz="2400" b="1" dirty="0"/>
          </a:p>
        </p:txBody>
      </p:sp>
    </p:spTree>
    <p:extLst>
      <p:ext uri="{BB962C8B-B14F-4D97-AF65-F5344CB8AC3E}">
        <p14:creationId xmlns:p14="http://schemas.microsoft.com/office/powerpoint/2010/main" val="3330463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6">
                                            <p:txEl>
                                              <p:pRg st="0" end="0"/>
                                            </p:txEl>
                                          </p:spTgt>
                                        </p:tgtEl>
                                        <p:attrNameLst>
                                          <p:attrName>style.visibility</p:attrName>
                                        </p:attrNameLst>
                                      </p:cBhvr>
                                      <p:to>
                                        <p:strVal val="visible"/>
                                      </p:to>
                                    </p:set>
                                    <p:animEffect transition="in" filter="fade">
                                      <p:cBhvr>
                                        <p:cTn id="31" dur="1000"/>
                                        <p:tgtEl>
                                          <p:spTgt spid="6">
                                            <p:txEl>
                                              <p:pRg st="0" end="0"/>
                                            </p:txEl>
                                          </p:spTgt>
                                        </p:tgtEl>
                                      </p:cBhvr>
                                    </p:animEffect>
                                    <p:anim calcmode="lin" valueType="num">
                                      <p:cBhvr>
                                        <p:cTn id="32"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6">
                                            <p:txEl>
                                              <p:pRg st="0" end="0"/>
                                            </p:txEl>
                                          </p:spTgt>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6">
                                            <p:txEl>
                                              <p:pRg st="1" end="1"/>
                                            </p:txEl>
                                          </p:spTgt>
                                        </p:tgtEl>
                                        <p:attrNameLst>
                                          <p:attrName>style.visibility</p:attrName>
                                        </p:attrNameLst>
                                      </p:cBhvr>
                                      <p:to>
                                        <p:strVal val="visible"/>
                                      </p:to>
                                    </p:set>
                                    <p:animEffect transition="in" filter="fade">
                                      <p:cBhvr>
                                        <p:cTn id="36" dur="1000"/>
                                        <p:tgtEl>
                                          <p:spTgt spid="6">
                                            <p:txEl>
                                              <p:pRg st="1" end="1"/>
                                            </p:txEl>
                                          </p:spTgt>
                                        </p:tgtEl>
                                      </p:cBhvr>
                                    </p:animEffect>
                                    <p:anim calcmode="lin" valueType="num">
                                      <p:cBhvr>
                                        <p:cTn id="37"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38" dur="1000" fill="hold"/>
                                        <p:tgtEl>
                                          <p:spTgt spid="6">
                                            <p:txEl>
                                              <p:pRg st="1" end="1"/>
                                            </p:txEl>
                                          </p:spTgt>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6">
                                            <p:txEl>
                                              <p:pRg st="2" end="2"/>
                                            </p:txEl>
                                          </p:spTgt>
                                        </p:tgtEl>
                                        <p:attrNameLst>
                                          <p:attrName>style.visibility</p:attrName>
                                        </p:attrNameLst>
                                      </p:cBhvr>
                                      <p:to>
                                        <p:strVal val="visible"/>
                                      </p:to>
                                    </p:set>
                                    <p:animEffect transition="in" filter="fade">
                                      <p:cBhvr>
                                        <p:cTn id="41" dur="1000"/>
                                        <p:tgtEl>
                                          <p:spTgt spid="6">
                                            <p:txEl>
                                              <p:pRg st="2" end="2"/>
                                            </p:txEl>
                                          </p:spTgt>
                                        </p:tgtEl>
                                      </p:cBhvr>
                                    </p:animEffect>
                                    <p:anim calcmode="lin" valueType="num">
                                      <p:cBhvr>
                                        <p:cTn id="42"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43" dur="1000" fill="hold"/>
                                        <p:tgtEl>
                                          <p:spTgt spid="6">
                                            <p:txEl>
                                              <p:pRg st="2" end="2"/>
                                            </p:txEl>
                                          </p:spTgt>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6">
                                            <p:txEl>
                                              <p:pRg st="3" end="3"/>
                                            </p:txEl>
                                          </p:spTgt>
                                        </p:tgtEl>
                                        <p:attrNameLst>
                                          <p:attrName>style.visibility</p:attrName>
                                        </p:attrNameLst>
                                      </p:cBhvr>
                                      <p:to>
                                        <p:strVal val="visible"/>
                                      </p:to>
                                    </p:set>
                                    <p:animEffect transition="in" filter="fade">
                                      <p:cBhvr>
                                        <p:cTn id="46" dur="1000"/>
                                        <p:tgtEl>
                                          <p:spTgt spid="6">
                                            <p:txEl>
                                              <p:pRg st="3" end="3"/>
                                            </p:txEl>
                                          </p:spTgt>
                                        </p:tgtEl>
                                      </p:cBhvr>
                                    </p:animEffect>
                                    <p:anim calcmode="lin" valueType="num">
                                      <p:cBhvr>
                                        <p:cTn id="47"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48" dur="1000" fill="hold"/>
                                        <p:tgtEl>
                                          <p:spTgt spid="6">
                                            <p:txEl>
                                              <p:pRg st="3" end="3"/>
                                            </p:txEl>
                                          </p:spTgt>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6">
                                            <p:txEl>
                                              <p:pRg st="4" end="4"/>
                                            </p:txEl>
                                          </p:spTgt>
                                        </p:tgtEl>
                                        <p:attrNameLst>
                                          <p:attrName>style.visibility</p:attrName>
                                        </p:attrNameLst>
                                      </p:cBhvr>
                                      <p:to>
                                        <p:strVal val="visible"/>
                                      </p:to>
                                    </p:set>
                                    <p:animEffect transition="in" filter="fade">
                                      <p:cBhvr>
                                        <p:cTn id="51" dur="1000"/>
                                        <p:tgtEl>
                                          <p:spTgt spid="6">
                                            <p:txEl>
                                              <p:pRg st="4" end="4"/>
                                            </p:txEl>
                                          </p:spTgt>
                                        </p:tgtEl>
                                      </p:cBhvr>
                                    </p:animEffect>
                                    <p:anim calcmode="lin" valueType="num">
                                      <p:cBhvr>
                                        <p:cTn id="52"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53" dur="1000" fill="hold"/>
                                        <p:tgtEl>
                                          <p:spTgt spid="6">
                                            <p:txEl>
                                              <p:pRg st="4" end="4"/>
                                            </p:txEl>
                                          </p:spTgt>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6">
                                            <p:txEl>
                                              <p:pRg st="5" end="5"/>
                                            </p:txEl>
                                          </p:spTgt>
                                        </p:tgtEl>
                                        <p:attrNameLst>
                                          <p:attrName>style.visibility</p:attrName>
                                        </p:attrNameLst>
                                      </p:cBhvr>
                                      <p:to>
                                        <p:strVal val="visible"/>
                                      </p:to>
                                    </p:set>
                                    <p:animEffect transition="in" filter="fade">
                                      <p:cBhvr>
                                        <p:cTn id="56" dur="1000"/>
                                        <p:tgtEl>
                                          <p:spTgt spid="6">
                                            <p:txEl>
                                              <p:pRg st="5" end="5"/>
                                            </p:txEl>
                                          </p:spTgt>
                                        </p:tgtEl>
                                      </p:cBhvr>
                                    </p:animEffect>
                                    <p:anim calcmode="lin" valueType="num">
                                      <p:cBhvr>
                                        <p:cTn id="57" dur="1000" fill="hold"/>
                                        <p:tgtEl>
                                          <p:spTgt spid="6">
                                            <p:txEl>
                                              <p:pRg st="5" end="5"/>
                                            </p:txEl>
                                          </p:spTgt>
                                        </p:tgtEl>
                                        <p:attrNameLst>
                                          <p:attrName>ppt_x</p:attrName>
                                        </p:attrNameLst>
                                      </p:cBhvr>
                                      <p:tavLst>
                                        <p:tav tm="0">
                                          <p:val>
                                            <p:strVal val="#ppt_x"/>
                                          </p:val>
                                        </p:tav>
                                        <p:tav tm="100000">
                                          <p:val>
                                            <p:strVal val="#ppt_x"/>
                                          </p:val>
                                        </p:tav>
                                      </p:tavLst>
                                    </p:anim>
                                    <p:anim calcmode="lin" valueType="num">
                                      <p:cBhvr>
                                        <p:cTn id="58" dur="1000" fill="hold"/>
                                        <p:tgtEl>
                                          <p:spTgt spid="6">
                                            <p:txEl>
                                              <p:pRg st="5" end="5"/>
                                            </p:txEl>
                                          </p:spTgt>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6">
                                            <p:txEl>
                                              <p:pRg st="6" end="6"/>
                                            </p:txEl>
                                          </p:spTgt>
                                        </p:tgtEl>
                                        <p:attrNameLst>
                                          <p:attrName>style.visibility</p:attrName>
                                        </p:attrNameLst>
                                      </p:cBhvr>
                                      <p:to>
                                        <p:strVal val="visible"/>
                                      </p:to>
                                    </p:set>
                                    <p:animEffect transition="in" filter="fade">
                                      <p:cBhvr>
                                        <p:cTn id="61" dur="1000"/>
                                        <p:tgtEl>
                                          <p:spTgt spid="6">
                                            <p:txEl>
                                              <p:pRg st="6" end="6"/>
                                            </p:txEl>
                                          </p:spTgt>
                                        </p:tgtEl>
                                      </p:cBhvr>
                                    </p:animEffect>
                                    <p:anim calcmode="lin" valueType="num">
                                      <p:cBhvr>
                                        <p:cTn id="62"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63" dur="1000" fill="hold"/>
                                        <p:tgtEl>
                                          <p:spTgt spid="6">
                                            <p:txEl>
                                              <p:pRg st="6" end="6"/>
                                            </p:txEl>
                                          </p:spTgt>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6">
                                            <p:txEl>
                                              <p:pRg st="7" end="7"/>
                                            </p:txEl>
                                          </p:spTgt>
                                        </p:tgtEl>
                                        <p:attrNameLst>
                                          <p:attrName>style.visibility</p:attrName>
                                        </p:attrNameLst>
                                      </p:cBhvr>
                                      <p:to>
                                        <p:strVal val="visible"/>
                                      </p:to>
                                    </p:set>
                                    <p:animEffect transition="in" filter="fade">
                                      <p:cBhvr>
                                        <p:cTn id="66" dur="1000"/>
                                        <p:tgtEl>
                                          <p:spTgt spid="6">
                                            <p:txEl>
                                              <p:pRg st="7" end="7"/>
                                            </p:txEl>
                                          </p:spTgt>
                                        </p:tgtEl>
                                      </p:cBhvr>
                                    </p:animEffect>
                                    <p:anim calcmode="lin" valueType="num">
                                      <p:cBhvr>
                                        <p:cTn id="67" dur="1000" fill="hold"/>
                                        <p:tgtEl>
                                          <p:spTgt spid="6">
                                            <p:txEl>
                                              <p:pRg st="7" end="7"/>
                                            </p:txEl>
                                          </p:spTgt>
                                        </p:tgtEl>
                                        <p:attrNameLst>
                                          <p:attrName>ppt_x</p:attrName>
                                        </p:attrNameLst>
                                      </p:cBhvr>
                                      <p:tavLst>
                                        <p:tav tm="0">
                                          <p:val>
                                            <p:strVal val="#ppt_x"/>
                                          </p:val>
                                        </p:tav>
                                        <p:tav tm="100000">
                                          <p:val>
                                            <p:strVal val="#ppt_x"/>
                                          </p:val>
                                        </p:tav>
                                      </p:tavLst>
                                    </p:anim>
                                    <p:anim calcmode="lin" valueType="num">
                                      <p:cBhvr>
                                        <p:cTn id="68" dur="1000" fill="hold"/>
                                        <p:tgtEl>
                                          <p:spTgt spid="6">
                                            <p:txEl>
                                              <p:pRg st="7" end="7"/>
                                            </p:txEl>
                                          </p:spTgt>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Effect transition="in" filter="fade">
                                      <p:cBhvr>
                                        <p:cTn id="71" dur="1000"/>
                                        <p:tgtEl>
                                          <p:spTgt spid="6">
                                            <p:txEl>
                                              <p:pRg st="8" end="8"/>
                                            </p:txEl>
                                          </p:spTgt>
                                        </p:tgtEl>
                                      </p:cBhvr>
                                    </p:animEffect>
                                    <p:anim calcmode="lin" valueType="num">
                                      <p:cBhvr>
                                        <p:cTn id="72" dur="1000" fill="hold"/>
                                        <p:tgtEl>
                                          <p:spTgt spid="6">
                                            <p:txEl>
                                              <p:pRg st="8" end="8"/>
                                            </p:txEl>
                                          </p:spTgt>
                                        </p:tgtEl>
                                        <p:attrNameLst>
                                          <p:attrName>ppt_x</p:attrName>
                                        </p:attrNameLst>
                                      </p:cBhvr>
                                      <p:tavLst>
                                        <p:tav tm="0">
                                          <p:val>
                                            <p:strVal val="#ppt_x"/>
                                          </p:val>
                                        </p:tav>
                                        <p:tav tm="100000">
                                          <p:val>
                                            <p:strVal val="#ppt_x"/>
                                          </p:val>
                                        </p:tav>
                                      </p:tavLst>
                                    </p:anim>
                                    <p:anim calcmode="lin" valueType="num">
                                      <p:cBhvr>
                                        <p:cTn id="73" dur="1000" fill="hold"/>
                                        <p:tgtEl>
                                          <p:spTgt spid="6">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uiExpand="1" build="p"/>
      <p:bldP spid="10" grpId="0" animBg="1"/>
      <p:bldP spid="11" grpId="0" animBg="1"/>
      <p:bldP spid="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5AAAF-CB5E-4922-9492-BDDE4E5897B1}"/>
              </a:ext>
            </a:extLst>
          </p:cNvPr>
          <p:cNvSpPr>
            <a:spLocks noGrp="1"/>
          </p:cNvSpPr>
          <p:nvPr>
            <p:ph type="title"/>
          </p:nvPr>
        </p:nvSpPr>
        <p:spPr/>
        <p:txBody>
          <a:bodyPr/>
          <a:lstStyle/>
          <a:p>
            <a:r>
              <a:rPr lang="en-GB" dirty="0"/>
              <a:t>How can we improve this?</a:t>
            </a:r>
            <a:endParaRPr lang="en-US" dirty="0"/>
          </a:p>
        </p:txBody>
      </p:sp>
      <p:sp>
        <p:nvSpPr>
          <p:cNvPr id="4" name="Content Placeholder 4">
            <a:extLst>
              <a:ext uri="{FF2B5EF4-FFF2-40B4-BE49-F238E27FC236}">
                <a16:creationId xmlns:a16="http://schemas.microsoft.com/office/drawing/2014/main" id="{989A2791-0B74-40AC-904D-E7BFA67EADDA}"/>
              </a:ext>
            </a:extLst>
          </p:cNvPr>
          <p:cNvSpPr txBox="1">
            <a:spLocks/>
          </p:cNvSpPr>
          <p:nvPr/>
        </p:nvSpPr>
        <p:spPr>
          <a:xfrm>
            <a:off x="302918" y="1126647"/>
            <a:ext cx="12049957" cy="2317796"/>
          </a:xfrm>
          <a:prstGeom prst="rect">
            <a:avLst/>
          </a:prstGeom>
        </p:spPr>
        <p:txBody>
          <a:bodyPr numCol="2">
            <a:normAutofit lnSpcReduction="10000"/>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solidFill>
                  <a:schemeClr val="tx1"/>
                </a:solidFill>
              </a:rPr>
              <a:t>Small changes (smaller scope)</a:t>
            </a:r>
          </a:p>
          <a:p>
            <a:r>
              <a:rPr lang="en-GB" dirty="0">
                <a:solidFill>
                  <a:schemeClr val="tx1"/>
                </a:solidFill>
              </a:rPr>
              <a:t>Versioning (traceability)</a:t>
            </a:r>
          </a:p>
          <a:p>
            <a:r>
              <a:rPr lang="en-GB" dirty="0">
                <a:solidFill>
                  <a:schemeClr val="tx1"/>
                </a:solidFill>
              </a:rPr>
              <a:t>Visibility (low memory/cognitive load)</a:t>
            </a:r>
          </a:p>
          <a:p>
            <a:r>
              <a:rPr lang="en-GB" dirty="0">
                <a:solidFill>
                  <a:schemeClr val="tx1"/>
                </a:solidFill>
              </a:rPr>
              <a:t>Open &amp; Accessible (Collaboration)</a:t>
            </a:r>
          </a:p>
          <a:p>
            <a:r>
              <a:rPr lang="en-GB" dirty="0">
                <a:solidFill>
                  <a:schemeClr val="tx1"/>
                </a:solidFill>
              </a:rPr>
              <a:t>High Cohesion, low coupling</a:t>
            </a:r>
          </a:p>
          <a:p>
            <a:r>
              <a:rPr lang="en-GB" dirty="0">
                <a:solidFill>
                  <a:schemeClr val="tx1"/>
                </a:solidFill>
              </a:rPr>
              <a:t>Baseline for non-regression</a:t>
            </a:r>
          </a:p>
          <a:p>
            <a:r>
              <a:rPr lang="en-GB" dirty="0">
                <a:solidFill>
                  <a:schemeClr val="tx1"/>
                </a:solidFill>
              </a:rPr>
              <a:t>Frictionless to change</a:t>
            </a:r>
          </a:p>
          <a:p>
            <a:r>
              <a:rPr lang="en-GB" dirty="0">
                <a:solidFill>
                  <a:schemeClr val="tx1"/>
                </a:solidFill>
              </a:rPr>
              <a:t>Promotion of trusted changes</a:t>
            </a:r>
          </a:p>
        </p:txBody>
      </p:sp>
      <p:pic>
        <p:nvPicPr>
          <p:cNvPr id="5" name="Picture 4">
            <a:extLst>
              <a:ext uri="{FF2B5EF4-FFF2-40B4-BE49-F238E27FC236}">
                <a16:creationId xmlns:a16="http://schemas.microsoft.com/office/drawing/2014/main" id="{2EBD7979-7AC2-46F7-87A3-31419D6FCAB3}"/>
              </a:ext>
            </a:extLst>
          </p:cNvPr>
          <p:cNvPicPr>
            <a:picLocks noChangeAspect="1"/>
          </p:cNvPicPr>
          <p:nvPr/>
        </p:nvPicPr>
        <p:blipFill>
          <a:blip r:embed="rId2"/>
          <a:stretch>
            <a:fillRect/>
          </a:stretch>
        </p:blipFill>
        <p:spPr>
          <a:xfrm>
            <a:off x="6318918" y="5124435"/>
            <a:ext cx="1572112" cy="1821184"/>
          </a:xfrm>
          <a:prstGeom prst="rect">
            <a:avLst/>
          </a:prstGeom>
        </p:spPr>
      </p:pic>
      <p:pic>
        <p:nvPicPr>
          <p:cNvPr id="6" name="Picture 5">
            <a:extLst>
              <a:ext uri="{FF2B5EF4-FFF2-40B4-BE49-F238E27FC236}">
                <a16:creationId xmlns:a16="http://schemas.microsoft.com/office/drawing/2014/main" id="{F2635096-C24F-4C55-8F43-F98F1582E81B}"/>
              </a:ext>
            </a:extLst>
          </p:cNvPr>
          <p:cNvPicPr>
            <a:picLocks noChangeAspect="1"/>
          </p:cNvPicPr>
          <p:nvPr/>
        </p:nvPicPr>
        <p:blipFill>
          <a:blip r:embed="rId3"/>
          <a:stretch>
            <a:fillRect/>
          </a:stretch>
        </p:blipFill>
        <p:spPr>
          <a:xfrm>
            <a:off x="9512461" y="5110226"/>
            <a:ext cx="1504378" cy="1775323"/>
          </a:xfrm>
          <a:prstGeom prst="rect">
            <a:avLst/>
          </a:prstGeom>
        </p:spPr>
      </p:pic>
      <p:pic>
        <p:nvPicPr>
          <p:cNvPr id="7" name="Picture 6">
            <a:extLst>
              <a:ext uri="{FF2B5EF4-FFF2-40B4-BE49-F238E27FC236}">
                <a16:creationId xmlns:a16="http://schemas.microsoft.com/office/drawing/2014/main" id="{5725C396-A3A0-4C13-A0C0-BA4DB139D1FD}"/>
              </a:ext>
            </a:extLst>
          </p:cNvPr>
          <p:cNvPicPr>
            <a:picLocks noChangeAspect="1"/>
          </p:cNvPicPr>
          <p:nvPr/>
        </p:nvPicPr>
        <p:blipFill>
          <a:blip r:embed="rId4"/>
          <a:stretch>
            <a:fillRect/>
          </a:stretch>
        </p:blipFill>
        <p:spPr>
          <a:xfrm>
            <a:off x="3388746" y="5383584"/>
            <a:ext cx="1308742" cy="1230992"/>
          </a:xfrm>
          <a:prstGeom prst="rect">
            <a:avLst/>
          </a:prstGeom>
        </p:spPr>
      </p:pic>
      <p:pic>
        <p:nvPicPr>
          <p:cNvPr id="8" name="Picture 7">
            <a:extLst>
              <a:ext uri="{FF2B5EF4-FFF2-40B4-BE49-F238E27FC236}">
                <a16:creationId xmlns:a16="http://schemas.microsoft.com/office/drawing/2014/main" id="{3FCB3FBC-53B0-4993-8639-0CA3590B870E}"/>
              </a:ext>
            </a:extLst>
          </p:cNvPr>
          <p:cNvPicPr>
            <a:picLocks noChangeAspect="1"/>
          </p:cNvPicPr>
          <p:nvPr/>
        </p:nvPicPr>
        <p:blipFill>
          <a:blip r:embed="rId5"/>
          <a:stretch>
            <a:fillRect/>
          </a:stretch>
        </p:blipFill>
        <p:spPr>
          <a:xfrm>
            <a:off x="775692" y="5122648"/>
            <a:ext cx="716132" cy="1429444"/>
          </a:xfrm>
          <a:prstGeom prst="rect">
            <a:avLst/>
          </a:prstGeom>
        </p:spPr>
      </p:pic>
      <p:grpSp>
        <p:nvGrpSpPr>
          <p:cNvPr id="9" name="Group 8">
            <a:extLst>
              <a:ext uri="{FF2B5EF4-FFF2-40B4-BE49-F238E27FC236}">
                <a16:creationId xmlns:a16="http://schemas.microsoft.com/office/drawing/2014/main" id="{A79A21ED-7A1C-4998-8C93-22C77E3A344C}"/>
              </a:ext>
            </a:extLst>
          </p:cNvPr>
          <p:cNvGrpSpPr/>
          <p:nvPr/>
        </p:nvGrpSpPr>
        <p:grpSpPr>
          <a:xfrm>
            <a:off x="1851862" y="5662597"/>
            <a:ext cx="1391195" cy="711530"/>
            <a:chOff x="1399099" y="5706987"/>
            <a:chExt cx="1391195" cy="711530"/>
          </a:xfrm>
        </p:grpSpPr>
        <p:sp>
          <p:nvSpPr>
            <p:cNvPr id="10" name="Arrow: Right 9">
              <a:extLst>
                <a:ext uri="{FF2B5EF4-FFF2-40B4-BE49-F238E27FC236}">
                  <a16:creationId xmlns:a16="http://schemas.microsoft.com/office/drawing/2014/main" id="{3D0D1537-449A-429D-A466-418565FCA889}"/>
                </a:ext>
              </a:extLst>
            </p:cNvPr>
            <p:cNvSpPr/>
            <p:nvPr/>
          </p:nvSpPr>
          <p:spPr>
            <a:xfrm>
              <a:off x="1475299" y="570698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0B29EE4E-2071-4C22-8A6F-500B2992948F}"/>
                </a:ext>
              </a:extLst>
            </p:cNvPr>
            <p:cNvSpPr txBox="1"/>
            <p:nvPr/>
          </p:nvSpPr>
          <p:spPr>
            <a:xfrm>
              <a:off x="1399099" y="6054571"/>
              <a:ext cx="1185191" cy="363946"/>
            </a:xfrm>
            <a:prstGeom prst="rect">
              <a:avLst/>
            </a:prstGeom>
            <a:noFill/>
          </p:spPr>
          <p:txBody>
            <a:bodyPr wrap="square" rtlCol="0">
              <a:spAutoFit/>
            </a:bodyPr>
            <a:lstStyle/>
            <a:p>
              <a:pPr algn="ctr"/>
              <a:r>
                <a:rPr lang="en-GB" b="1" dirty="0"/>
                <a:t>CHANGE</a:t>
              </a:r>
            </a:p>
          </p:txBody>
        </p:sp>
      </p:grpSp>
      <p:grpSp>
        <p:nvGrpSpPr>
          <p:cNvPr id="12" name="Group 11">
            <a:extLst>
              <a:ext uri="{FF2B5EF4-FFF2-40B4-BE49-F238E27FC236}">
                <a16:creationId xmlns:a16="http://schemas.microsoft.com/office/drawing/2014/main" id="{995A81A1-5D12-4EA3-9D63-D6BC2633818D}"/>
              </a:ext>
            </a:extLst>
          </p:cNvPr>
          <p:cNvGrpSpPr/>
          <p:nvPr/>
        </p:nvGrpSpPr>
        <p:grpSpPr>
          <a:xfrm>
            <a:off x="4784031" y="5666667"/>
            <a:ext cx="1384796" cy="650572"/>
            <a:chOff x="4331268" y="5711057"/>
            <a:chExt cx="1384796" cy="650572"/>
          </a:xfrm>
        </p:grpSpPr>
        <p:sp>
          <p:nvSpPr>
            <p:cNvPr id="13" name="Arrow: Right 12">
              <a:extLst>
                <a:ext uri="{FF2B5EF4-FFF2-40B4-BE49-F238E27FC236}">
                  <a16:creationId xmlns:a16="http://schemas.microsoft.com/office/drawing/2014/main" id="{50D236B1-91BC-441D-A570-74241E966783}"/>
                </a:ext>
              </a:extLst>
            </p:cNvPr>
            <p:cNvSpPr/>
            <p:nvPr/>
          </p:nvSpPr>
          <p:spPr>
            <a:xfrm>
              <a:off x="4401069" y="571105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CFE4D84E-A14E-41E4-BC1E-F03970A782A3}"/>
                </a:ext>
              </a:extLst>
            </p:cNvPr>
            <p:cNvSpPr txBox="1"/>
            <p:nvPr/>
          </p:nvSpPr>
          <p:spPr>
            <a:xfrm>
              <a:off x="4331268" y="5992297"/>
              <a:ext cx="1216932" cy="369332"/>
            </a:xfrm>
            <a:prstGeom prst="rect">
              <a:avLst/>
            </a:prstGeom>
            <a:noFill/>
          </p:spPr>
          <p:txBody>
            <a:bodyPr wrap="square" rtlCol="0">
              <a:spAutoFit/>
            </a:bodyPr>
            <a:lstStyle/>
            <a:p>
              <a:pPr algn="ctr"/>
              <a:r>
                <a:rPr lang="en-GB" b="1" dirty="0"/>
                <a:t>CHANGE</a:t>
              </a:r>
            </a:p>
          </p:txBody>
        </p:sp>
      </p:grpSp>
      <p:grpSp>
        <p:nvGrpSpPr>
          <p:cNvPr id="15" name="Group 14">
            <a:extLst>
              <a:ext uri="{FF2B5EF4-FFF2-40B4-BE49-F238E27FC236}">
                <a16:creationId xmlns:a16="http://schemas.microsoft.com/office/drawing/2014/main" id="{DB5A6332-21D3-442B-8B52-B878EAA9576D}"/>
              </a:ext>
            </a:extLst>
          </p:cNvPr>
          <p:cNvGrpSpPr/>
          <p:nvPr/>
        </p:nvGrpSpPr>
        <p:grpSpPr>
          <a:xfrm>
            <a:off x="7968048" y="5646137"/>
            <a:ext cx="1391195" cy="671102"/>
            <a:chOff x="7515285" y="5690527"/>
            <a:chExt cx="1391195" cy="671102"/>
          </a:xfrm>
        </p:grpSpPr>
        <p:sp>
          <p:nvSpPr>
            <p:cNvPr id="16" name="Arrow: Right 15">
              <a:extLst>
                <a:ext uri="{FF2B5EF4-FFF2-40B4-BE49-F238E27FC236}">
                  <a16:creationId xmlns:a16="http://schemas.microsoft.com/office/drawing/2014/main" id="{051FC15A-AFC8-4ABC-949E-7E37681B57E1}"/>
                </a:ext>
              </a:extLst>
            </p:cNvPr>
            <p:cNvSpPr/>
            <p:nvPr/>
          </p:nvSpPr>
          <p:spPr>
            <a:xfrm>
              <a:off x="7591485" y="569052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EC87E924-5053-4FAF-9F1B-4C87C0CB0EE1}"/>
                </a:ext>
              </a:extLst>
            </p:cNvPr>
            <p:cNvSpPr txBox="1"/>
            <p:nvPr/>
          </p:nvSpPr>
          <p:spPr>
            <a:xfrm>
              <a:off x="7515285" y="5992297"/>
              <a:ext cx="1195002" cy="369332"/>
            </a:xfrm>
            <a:prstGeom prst="rect">
              <a:avLst/>
            </a:prstGeom>
            <a:noFill/>
          </p:spPr>
          <p:txBody>
            <a:bodyPr wrap="square" rtlCol="0">
              <a:spAutoFit/>
            </a:bodyPr>
            <a:lstStyle/>
            <a:p>
              <a:pPr algn="ctr"/>
              <a:r>
                <a:rPr lang="en-GB" b="1" dirty="0"/>
                <a:t>CHANGE</a:t>
              </a:r>
            </a:p>
          </p:txBody>
        </p:sp>
      </p:grpSp>
      <p:pic>
        <p:nvPicPr>
          <p:cNvPr id="18" name="Picture 17">
            <a:extLst>
              <a:ext uri="{FF2B5EF4-FFF2-40B4-BE49-F238E27FC236}">
                <a16:creationId xmlns:a16="http://schemas.microsoft.com/office/drawing/2014/main" id="{F2BA1346-0A1A-48DB-89FE-AD43D4DA9CFA}"/>
              </a:ext>
            </a:extLst>
          </p:cNvPr>
          <p:cNvPicPr>
            <a:picLocks noChangeAspect="1"/>
          </p:cNvPicPr>
          <p:nvPr/>
        </p:nvPicPr>
        <p:blipFill>
          <a:blip r:embed="rId4"/>
          <a:stretch>
            <a:fillRect/>
          </a:stretch>
        </p:blipFill>
        <p:spPr>
          <a:xfrm>
            <a:off x="7665218" y="4685117"/>
            <a:ext cx="783034" cy="736516"/>
          </a:xfrm>
          <a:prstGeom prst="rect">
            <a:avLst/>
          </a:prstGeom>
        </p:spPr>
      </p:pic>
      <p:pic>
        <p:nvPicPr>
          <p:cNvPr id="19" name="Picture 18">
            <a:extLst>
              <a:ext uri="{FF2B5EF4-FFF2-40B4-BE49-F238E27FC236}">
                <a16:creationId xmlns:a16="http://schemas.microsoft.com/office/drawing/2014/main" id="{43608186-795D-480E-A4BE-E10798D2E817}"/>
              </a:ext>
            </a:extLst>
          </p:cNvPr>
          <p:cNvPicPr>
            <a:picLocks noChangeAspect="1"/>
          </p:cNvPicPr>
          <p:nvPr/>
        </p:nvPicPr>
        <p:blipFill>
          <a:blip r:embed="rId4"/>
          <a:stretch>
            <a:fillRect/>
          </a:stretch>
        </p:blipFill>
        <p:spPr>
          <a:xfrm>
            <a:off x="7173751" y="4675426"/>
            <a:ext cx="783034" cy="736516"/>
          </a:xfrm>
          <a:prstGeom prst="rect">
            <a:avLst/>
          </a:prstGeom>
        </p:spPr>
      </p:pic>
      <p:sp>
        <p:nvSpPr>
          <p:cNvPr id="20" name="TextBox 19">
            <a:extLst>
              <a:ext uri="{FF2B5EF4-FFF2-40B4-BE49-F238E27FC236}">
                <a16:creationId xmlns:a16="http://schemas.microsoft.com/office/drawing/2014/main" id="{F5F3A568-0377-4159-91BD-7B4837E0D40E}"/>
              </a:ext>
            </a:extLst>
          </p:cNvPr>
          <p:cNvSpPr txBox="1"/>
          <p:nvPr/>
        </p:nvSpPr>
        <p:spPr>
          <a:xfrm>
            <a:off x="3195961" y="3837056"/>
            <a:ext cx="5308847" cy="646331"/>
          </a:xfrm>
          <a:prstGeom prst="rect">
            <a:avLst/>
          </a:prstGeom>
          <a:noFill/>
        </p:spPr>
        <p:txBody>
          <a:bodyPr wrap="square" rtlCol="0">
            <a:spAutoFit/>
          </a:bodyPr>
          <a:lstStyle/>
          <a:p>
            <a:pPr algn="ctr"/>
            <a:r>
              <a:rPr lang="en-GB" sz="3600" b="1" dirty="0"/>
              <a:t>FEEDBACK</a:t>
            </a:r>
          </a:p>
        </p:txBody>
      </p:sp>
    </p:spTree>
    <p:extLst>
      <p:ext uri="{BB962C8B-B14F-4D97-AF65-F5344CB8AC3E}">
        <p14:creationId xmlns:p14="http://schemas.microsoft.com/office/powerpoint/2010/main" val="1292974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B22A6-5ABB-4756-AD3C-5C2EA5FF10BC}"/>
              </a:ext>
            </a:extLst>
          </p:cNvPr>
          <p:cNvSpPr>
            <a:spLocks noGrp="1"/>
          </p:cNvSpPr>
          <p:nvPr>
            <p:ph type="title"/>
          </p:nvPr>
        </p:nvSpPr>
        <p:spPr/>
        <p:txBody>
          <a:bodyPr/>
          <a:lstStyle/>
          <a:p>
            <a:r>
              <a:rPr lang="en-US" dirty="0"/>
              <a:t>Artefact (or Artifact)</a:t>
            </a:r>
          </a:p>
        </p:txBody>
      </p:sp>
      <p:sp>
        <p:nvSpPr>
          <p:cNvPr id="4" name="Title 1">
            <a:extLst>
              <a:ext uri="{FF2B5EF4-FFF2-40B4-BE49-F238E27FC236}">
                <a16:creationId xmlns:a16="http://schemas.microsoft.com/office/drawing/2014/main" id="{8B9EC0A1-4627-4A58-8B9D-2AD416CBDC6A}"/>
              </a:ext>
            </a:extLst>
          </p:cNvPr>
          <p:cNvSpPr txBox="1">
            <a:spLocks/>
          </p:cNvSpPr>
          <p:nvPr/>
        </p:nvSpPr>
        <p:spPr>
          <a:xfrm>
            <a:off x="838200" y="365125"/>
            <a:ext cx="10515600" cy="1325563"/>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GB" sz="4800" dirty="0"/>
          </a:p>
        </p:txBody>
      </p:sp>
      <p:sp>
        <p:nvSpPr>
          <p:cNvPr id="5" name="Content Placeholder 2">
            <a:extLst>
              <a:ext uri="{FF2B5EF4-FFF2-40B4-BE49-F238E27FC236}">
                <a16:creationId xmlns:a16="http://schemas.microsoft.com/office/drawing/2014/main" id="{45EFDA3D-1C5C-4DD6-ABD2-70D4DD6E32C7}"/>
              </a:ext>
            </a:extLst>
          </p:cNvPr>
          <p:cNvSpPr txBox="1">
            <a:spLocks/>
          </p:cNvSpPr>
          <p:nvPr/>
        </p:nvSpPr>
        <p:spPr>
          <a:xfrm>
            <a:off x="585217" y="1187449"/>
            <a:ext cx="10515600" cy="4894771"/>
          </a:xfrm>
          <a:prstGeom prst="rect">
            <a:avLst/>
          </a:prstGeom>
        </p:spPr>
        <p:txBody>
          <a:bodyPr>
            <a:normAutofit fontScale="92500" lnSpcReduction="10000"/>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GB" sz="3200" i="1" dirty="0" err="1"/>
              <a:t>Arte</a:t>
            </a:r>
            <a:r>
              <a:rPr lang="en-GB" sz="3200" i="1" dirty="0"/>
              <a:t> + Factum = Something made by/of Art</a:t>
            </a:r>
          </a:p>
          <a:p>
            <a:pPr marL="0" indent="0">
              <a:buFont typeface="Wingdings" panose="05000000000000000000" pitchFamily="2" charset="2"/>
              <a:buNone/>
            </a:pPr>
            <a:r>
              <a:rPr lang="en-GB" sz="3200" i="1" dirty="0"/>
              <a:t>Art = work produced by human creative skill and imagination.</a:t>
            </a:r>
          </a:p>
          <a:p>
            <a:pPr marL="0" indent="0">
              <a:buFont typeface="Wingdings" panose="05000000000000000000" pitchFamily="2" charset="2"/>
              <a:buNone/>
            </a:pPr>
            <a:endParaRPr lang="en-GB" sz="3200" dirty="0"/>
          </a:p>
          <a:p>
            <a:pPr marL="0" indent="0">
              <a:buFont typeface="Wingdings" panose="05000000000000000000" pitchFamily="2" charset="2"/>
              <a:buNone/>
            </a:pPr>
            <a:endParaRPr lang="en-GB" sz="3200" dirty="0"/>
          </a:p>
          <a:p>
            <a:r>
              <a:rPr lang="en-GB" sz="3200" dirty="0"/>
              <a:t>An unit or entity (</a:t>
            </a:r>
            <a:r>
              <a:rPr lang="en-GB" sz="3200" i="1" dirty="0"/>
              <a:t>something</a:t>
            </a:r>
            <a:r>
              <a:rPr lang="en-GB" sz="3200" dirty="0"/>
              <a:t>)</a:t>
            </a:r>
          </a:p>
          <a:p>
            <a:r>
              <a:rPr lang="en-GB" sz="3200" dirty="0"/>
              <a:t>Created from human changes (</a:t>
            </a:r>
            <a:r>
              <a:rPr lang="en-GB" sz="3200" i="1" dirty="0"/>
              <a:t>initially</a:t>
            </a:r>
            <a:r>
              <a:rPr lang="en-GB" sz="3200" dirty="0"/>
              <a:t>)</a:t>
            </a:r>
          </a:p>
          <a:p>
            <a:r>
              <a:rPr lang="en-GB" sz="3200" dirty="0"/>
              <a:t>Versioned (</a:t>
            </a:r>
            <a:r>
              <a:rPr lang="en-GB" sz="3200" i="1" dirty="0"/>
              <a:t>uniqueness</a:t>
            </a:r>
            <a:r>
              <a:rPr lang="en-GB" sz="3200" dirty="0"/>
              <a:t>)</a:t>
            </a:r>
          </a:p>
          <a:p>
            <a:r>
              <a:rPr lang="en-GB" sz="3200" dirty="0"/>
              <a:t>Tested (to build </a:t>
            </a:r>
            <a:r>
              <a:rPr lang="en-GB" sz="3200" i="1" dirty="0"/>
              <a:t>trust</a:t>
            </a:r>
            <a:r>
              <a:rPr lang="en-GB" sz="3200" dirty="0"/>
              <a:t>)</a:t>
            </a:r>
          </a:p>
          <a:p>
            <a:r>
              <a:rPr lang="en-GB" sz="3200" dirty="0"/>
              <a:t>Immutable (</a:t>
            </a:r>
            <a:r>
              <a:rPr lang="en-GB" sz="3200" i="1" dirty="0"/>
              <a:t>or you’ll lose trust</a:t>
            </a:r>
            <a:r>
              <a:rPr lang="en-GB" sz="3200" dirty="0"/>
              <a:t>)</a:t>
            </a:r>
          </a:p>
          <a:p>
            <a:endParaRPr lang="en-GB" sz="3200" dirty="0"/>
          </a:p>
        </p:txBody>
      </p:sp>
      <p:grpSp>
        <p:nvGrpSpPr>
          <p:cNvPr id="6" name="Group 5">
            <a:extLst>
              <a:ext uri="{FF2B5EF4-FFF2-40B4-BE49-F238E27FC236}">
                <a16:creationId xmlns:a16="http://schemas.microsoft.com/office/drawing/2014/main" id="{24D13C70-DE6E-4A66-89A1-F73F44E986B2}"/>
              </a:ext>
            </a:extLst>
          </p:cNvPr>
          <p:cNvGrpSpPr/>
          <p:nvPr/>
        </p:nvGrpSpPr>
        <p:grpSpPr>
          <a:xfrm>
            <a:off x="8967407" y="3955002"/>
            <a:ext cx="2406888" cy="1886531"/>
            <a:chOff x="8967407" y="3955002"/>
            <a:chExt cx="2406888" cy="1886531"/>
          </a:xfrm>
        </p:grpSpPr>
        <p:pic>
          <p:nvPicPr>
            <p:cNvPr id="7" name="Picture 6">
              <a:extLst>
                <a:ext uri="{FF2B5EF4-FFF2-40B4-BE49-F238E27FC236}">
                  <a16:creationId xmlns:a16="http://schemas.microsoft.com/office/drawing/2014/main" id="{706A6FF3-DEE2-459D-8EA6-EBD353BA2DB7}"/>
                </a:ext>
              </a:extLst>
            </p:cNvPr>
            <p:cNvPicPr>
              <a:picLocks noChangeAspect="1"/>
            </p:cNvPicPr>
            <p:nvPr/>
          </p:nvPicPr>
          <p:blipFill>
            <a:blip r:embed="rId2"/>
            <a:stretch>
              <a:fillRect/>
            </a:stretch>
          </p:blipFill>
          <p:spPr>
            <a:xfrm>
              <a:off x="9375858" y="3955002"/>
              <a:ext cx="1589986" cy="1522522"/>
            </a:xfrm>
            <a:prstGeom prst="rect">
              <a:avLst/>
            </a:prstGeom>
          </p:spPr>
        </p:pic>
        <p:sp>
          <p:nvSpPr>
            <p:cNvPr id="8" name="TextBox 7">
              <a:extLst>
                <a:ext uri="{FF2B5EF4-FFF2-40B4-BE49-F238E27FC236}">
                  <a16:creationId xmlns:a16="http://schemas.microsoft.com/office/drawing/2014/main" id="{33B4A4EF-2608-4850-970A-5C704EFD869D}"/>
                </a:ext>
              </a:extLst>
            </p:cNvPr>
            <p:cNvSpPr txBox="1"/>
            <p:nvPr/>
          </p:nvSpPr>
          <p:spPr>
            <a:xfrm>
              <a:off x="8967407" y="5379868"/>
              <a:ext cx="2406888" cy="461665"/>
            </a:xfrm>
            <a:prstGeom prst="rect">
              <a:avLst/>
            </a:prstGeom>
            <a:noFill/>
          </p:spPr>
          <p:txBody>
            <a:bodyPr wrap="square" rtlCol="0">
              <a:spAutoFit/>
            </a:bodyPr>
            <a:lstStyle/>
            <a:p>
              <a:pPr algn="ctr"/>
              <a:r>
                <a:rPr lang="en-GB" sz="2400" b="1" dirty="0"/>
                <a:t>ABSTRACTION</a:t>
              </a:r>
            </a:p>
          </p:txBody>
        </p:sp>
      </p:grpSp>
    </p:spTree>
    <p:extLst>
      <p:ext uri="{BB962C8B-B14F-4D97-AF65-F5344CB8AC3E}">
        <p14:creationId xmlns:p14="http://schemas.microsoft.com/office/powerpoint/2010/main" val="37679007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5" end="5"/>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7" end="7"/>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6" presetClass="entr" presetSubtype="16"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circle(in)">
                                      <p:cBhvr>
                                        <p:cTn id="23"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E4BB1-2517-453E-8945-EEF79FC23B14}"/>
              </a:ext>
            </a:extLst>
          </p:cNvPr>
          <p:cNvSpPr>
            <a:spLocks noGrp="1"/>
          </p:cNvSpPr>
          <p:nvPr>
            <p:ph type="title"/>
          </p:nvPr>
        </p:nvSpPr>
        <p:spPr>
          <a:xfrm>
            <a:off x="588263" y="230772"/>
            <a:ext cx="11018520" cy="1107996"/>
          </a:xfrm>
        </p:spPr>
        <p:txBody>
          <a:bodyPr/>
          <a:lstStyle/>
          <a:p>
            <a:r>
              <a:rPr lang="en-US" dirty="0"/>
              <a:t>Build trust &amp; abstract complexity</a:t>
            </a:r>
            <a:br>
              <a:rPr lang="en-US" dirty="0"/>
            </a:br>
            <a:endParaRPr lang="en-US" dirty="0"/>
          </a:p>
        </p:txBody>
      </p:sp>
      <p:sp>
        <p:nvSpPr>
          <p:cNvPr id="4" name="Title 1">
            <a:extLst>
              <a:ext uri="{FF2B5EF4-FFF2-40B4-BE49-F238E27FC236}">
                <a16:creationId xmlns:a16="http://schemas.microsoft.com/office/drawing/2014/main" id="{848902F6-B0D8-44D3-A504-FB7836B82F86}"/>
              </a:ext>
            </a:extLst>
          </p:cNvPr>
          <p:cNvSpPr txBox="1">
            <a:spLocks/>
          </p:cNvSpPr>
          <p:nvPr/>
        </p:nvSpPr>
        <p:spPr>
          <a:xfrm>
            <a:off x="838200" y="365125"/>
            <a:ext cx="10515600" cy="1325563"/>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GB" sz="4800" dirty="0"/>
          </a:p>
        </p:txBody>
      </p:sp>
      <p:pic>
        <p:nvPicPr>
          <p:cNvPr id="5" name="Picture 4">
            <a:extLst>
              <a:ext uri="{FF2B5EF4-FFF2-40B4-BE49-F238E27FC236}">
                <a16:creationId xmlns:a16="http://schemas.microsoft.com/office/drawing/2014/main" id="{89F2A91B-393E-4F4B-BC08-E186C0AF4B38}"/>
              </a:ext>
            </a:extLst>
          </p:cNvPr>
          <p:cNvPicPr>
            <a:picLocks noChangeAspect="1"/>
          </p:cNvPicPr>
          <p:nvPr/>
        </p:nvPicPr>
        <p:blipFill>
          <a:blip r:embed="rId2"/>
          <a:stretch>
            <a:fillRect/>
          </a:stretch>
        </p:blipFill>
        <p:spPr>
          <a:xfrm>
            <a:off x="6333801" y="1242860"/>
            <a:ext cx="1572112" cy="1821184"/>
          </a:xfrm>
          <a:prstGeom prst="rect">
            <a:avLst/>
          </a:prstGeom>
        </p:spPr>
      </p:pic>
      <p:pic>
        <p:nvPicPr>
          <p:cNvPr id="6" name="Picture 5">
            <a:extLst>
              <a:ext uri="{FF2B5EF4-FFF2-40B4-BE49-F238E27FC236}">
                <a16:creationId xmlns:a16="http://schemas.microsoft.com/office/drawing/2014/main" id="{08E70F78-CE13-4512-999E-4E0A7FA511E3}"/>
              </a:ext>
            </a:extLst>
          </p:cNvPr>
          <p:cNvPicPr>
            <a:picLocks noChangeAspect="1"/>
          </p:cNvPicPr>
          <p:nvPr/>
        </p:nvPicPr>
        <p:blipFill>
          <a:blip r:embed="rId3"/>
          <a:stretch>
            <a:fillRect/>
          </a:stretch>
        </p:blipFill>
        <p:spPr>
          <a:xfrm>
            <a:off x="9527344" y="1228651"/>
            <a:ext cx="1504378" cy="1775323"/>
          </a:xfrm>
          <a:prstGeom prst="rect">
            <a:avLst/>
          </a:prstGeom>
        </p:spPr>
      </p:pic>
      <p:pic>
        <p:nvPicPr>
          <p:cNvPr id="7" name="Picture 6">
            <a:extLst>
              <a:ext uri="{FF2B5EF4-FFF2-40B4-BE49-F238E27FC236}">
                <a16:creationId xmlns:a16="http://schemas.microsoft.com/office/drawing/2014/main" id="{42A33555-A09F-4401-9102-F375BFDE9609}"/>
              </a:ext>
            </a:extLst>
          </p:cNvPr>
          <p:cNvPicPr>
            <a:picLocks noChangeAspect="1"/>
          </p:cNvPicPr>
          <p:nvPr/>
        </p:nvPicPr>
        <p:blipFill>
          <a:blip r:embed="rId4"/>
          <a:stretch>
            <a:fillRect/>
          </a:stretch>
        </p:blipFill>
        <p:spPr>
          <a:xfrm>
            <a:off x="3403629" y="1502009"/>
            <a:ext cx="1308742" cy="1230992"/>
          </a:xfrm>
          <a:prstGeom prst="rect">
            <a:avLst/>
          </a:prstGeom>
        </p:spPr>
      </p:pic>
      <p:pic>
        <p:nvPicPr>
          <p:cNvPr id="8" name="Picture 7">
            <a:extLst>
              <a:ext uri="{FF2B5EF4-FFF2-40B4-BE49-F238E27FC236}">
                <a16:creationId xmlns:a16="http://schemas.microsoft.com/office/drawing/2014/main" id="{619686C7-2A6D-446A-886F-B986F04C4646}"/>
              </a:ext>
            </a:extLst>
          </p:cNvPr>
          <p:cNvPicPr>
            <a:picLocks noChangeAspect="1"/>
          </p:cNvPicPr>
          <p:nvPr/>
        </p:nvPicPr>
        <p:blipFill>
          <a:blip r:embed="rId5"/>
          <a:stretch>
            <a:fillRect/>
          </a:stretch>
        </p:blipFill>
        <p:spPr>
          <a:xfrm>
            <a:off x="790575" y="1241073"/>
            <a:ext cx="716132" cy="1429444"/>
          </a:xfrm>
          <a:prstGeom prst="rect">
            <a:avLst/>
          </a:prstGeom>
        </p:spPr>
      </p:pic>
      <p:grpSp>
        <p:nvGrpSpPr>
          <p:cNvPr id="9" name="Group 8">
            <a:extLst>
              <a:ext uri="{FF2B5EF4-FFF2-40B4-BE49-F238E27FC236}">
                <a16:creationId xmlns:a16="http://schemas.microsoft.com/office/drawing/2014/main" id="{07BE87AE-2B9F-4813-B47A-11AD1729B627}"/>
              </a:ext>
            </a:extLst>
          </p:cNvPr>
          <p:cNvGrpSpPr/>
          <p:nvPr/>
        </p:nvGrpSpPr>
        <p:grpSpPr>
          <a:xfrm>
            <a:off x="1904845" y="1781022"/>
            <a:ext cx="1353095" cy="716916"/>
            <a:chOff x="1437199" y="5706987"/>
            <a:chExt cx="1353095" cy="716916"/>
          </a:xfrm>
        </p:grpSpPr>
        <p:sp>
          <p:nvSpPr>
            <p:cNvPr id="10" name="Arrow: Right 9">
              <a:extLst>
                <a:ext uri="{FF2B5EF4-FFF2-40B4-BE49-F238E27FC236}">
                  <a16:creationId xmlns:a16="http://schemas.microsoft.com/office/drawing/2014/main" id="{2C90E2A4-1068-42A4-A601-43FDDFD61544}"/>
                </a:ext>
              </a:extLst>
            </p:cNvPr>
            <p:cNvSpPr/>
            <p:nvPr/>
          </p:nvSpPr>
          <p:spPr>
            <a:xfrm>
              <a:off x="1475299" y="570698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987362AC-4B57-442A-9E02-FC1EF4A388B7}"/>
                </a:ext>
              </a:extLst>
            </p:cNvPr>
            <p:cNvSpPr txBox="1"/>
            <p:nvPr/>
          </p:nvSpPr>
          <p:spPr>
            <a:xfrm>
              <a:off x="1437199" y="6054571"/>
              <a:ext cx="1138606" cy="369332"/>
            </a:xfrm>
            <a:prstGeom prst="rect">
              <a:avLst/>
            </a:prstGeom>
            <a:noFill/>
          </p:spPr>
          <p:txBody>
            <a:bodyPr wrap="square" rtlCol="0">
              <a:spAutoFit/>
            </a:bodyPr>
            <a:lstStyle/>
            <a:p>
              <a:pPr algn="ctr"/>
              <a:r>
                <a:rPr lang="en-GB" b="1" dirty="0"/>
                <a:t>CHANGE</a:t>
              </a:r>
            </a:p>
          </p:txBody>
        </p:sp>
      </p:grpSp>
      <p:grpSp>
        <p:nvGrpSpPr>
          <p:cNvPr id="12" name="Group 11">
            <a:extLst>
              <a:ext uri="{FF2B5EF4-FFF2-40B4-BE49-F238E27FC236}">
                <a16:creationId xmlns:a16="http://schemas.microsoft.com/office/drawing/2014/main" id="{A7372081-DF9D-4E5E-B96B-C3A8031E6B0A}"/>
              </a:ext>
            </a:extLst>
          </p:cNvPr>
          <p:cNvGrpSpPr/>
          <p:nvPr/>
        </p:nvGrpSpPr>
        <p:grpSpPr>
          <a:xfrm>
            <a:off x="4827489" y="1785092"/>
            <a:ext cx="1356221" cy="645186"/>
            <a:chOff x="4359843" y="5711057"/>
            <a:chExt cx="1356221" cy="645186"/>
          </a:xfrm>
        </p:grpSpPr>
        <p:sp>
          <p:nvSpPr>
            <p:cNvPr id="13" name="Arrow: Right 12">
              <a:extLst>
                <a:ext uri="{FF2B5EF4-FFF2-40B4-BE49-F238E27FC236}">
                  <a16:creationId xmlns:a16="http://schemas.microsoft.com/office/drawing/2014/main" id="{9843B42E-9AC9-4F30-AF4E-E9FA76378DBD}"/>
                </a:ext>
              </a:extLst>
            </p:cNvPr>
            <p:cNvSpPr/>
            <p:nvPr/>
          </p:nvSpPr>
          <p:spPr>
            <a:xfrm>
              <a:off x="4401069" y="571105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10B2EB11-9C11-4716-BA2E-BB3F30364C0D}"/>
                </a:ext>
              </a:extLst>
            </p:cNvPr>
            <p:cNvSpPr txBox="1"/>
            <p:nvPr/>
          </p:nvSpPr>
          <p:spPr>
            <a:xfrm>
              <a:off x="4359843" y="5992297"/>
              <a:ext cx="1146134" cy="363946"/>
            </a:xfrm>
            <a:prstGeom prst="rect">
              <a:avLst/>
            </a:prstGeom>
            <a:noFill/>
          </p:spPr>
          <p:txBody>
            <a:bodyPr wrap="square" rtlCol="0">
              <a:spAutoFit/>
            </a:bodyPr>
            <a:lstStyle/>
            <a:p>
              <a:pPr algn="ctr"/>
              <a:r>
                <a:rPr lang="en-GB" b="1" dirty="0"/>
                <a:t>CHANGE</a:t>
              </a:r>
            </a:p>
          </p:txBody>
        </p:sp>
      </p:grpSp>
      <p:grpSp>
        <p:nvGrpSpPr>
          <p:cNvPr id="15" name="Group 14">
            <a:extLst>
              <a:ext uri="{FF2B5EF4-FFF2-40B4-BE49-F238E27FC236}">
                <a16:creationId xmlns:a16="http://schemas.microsoft.com/office/drawing/2014/main" id="{AC8BE46F-07D6-4CC4-A11D-EB87E11EA3F7}"/>
              </a:ext>
            </a:extLst>
          </p:cNvPr>
          <p:cNvGrpSpPr/>
          <p:nvPr/>
        </p:nvGrpSpPr>
        <p:grpSpPr>
          <a:xfrm>
            <a:off x="8011506" y="1764562"/>
            <a:ext cx="1362620" cy="671102"/>
            <a:chOff x="7543860" y="5690527"/>
            <a:chExt cx="1362620" cy="671102"/>
          </a:xfrm>
        </p:grpSpPr>
        <p:sp>
          <p:nvSpPr>
            <p:cNvPr id="16" name="Arrow: Right 15">
              <a:extLst>
                <a:ext uri="{FF2B5EF4-FFF2-40B4-BE49-F238E27FC236}">
                  <a16:creationId xmlns:a16="http://schemas.microsoft.com/office/drawing/2014/main" id="{8FDDF8BB-4D22-4ECC-B40D-CBC0937976AE}"/>
                </a:ext>
              </a:extLst>
            </p:cNvPr>
            <p:cNvSpPr/>
            <p:nvPr/>
          </p:nvSpPr>
          <p:spPr>
            <a:xfrm>
              <a:off x="7591485" y="569052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A412D703-DBE0-405F-A8CB-1CF6B6A4F7D3}"/>
                </a:ext>
              </a:extLst>
            </p:cNvPr>
            <p:cNvSpPr txBox="1"/>
            <p:nvPr/>
          </p:nvSpPr>
          <p:spPr>
            <a:xfrm>
              <a:off x="7543860" y="5992297"/>
              <a:ext cx="1146135" cy="369332"/>
            </a:xfrm>
            <a:prstGeom prst="rect">
              <a:avLst/>
            </a:prstGeom>
            <a:noFill/>
          </p:spPr>
          <p:txBody>
            <a:bodyPr wrap="square" rtlCol="0">
              <a:spAutoFit/>
            </a:bodyPr>
            <a:lstStyle/>
            <a:p>
              <a:pPr algn="ctr"/>
              <a:r>
                <a:rPr lang="en-GB" b="1" dirty="0"/>
                <a:t>CHANGE</a:t>
              </a:r>
            </a:p>
          </p:txBody>
        </p:sp>
      </p:grpSp>
      <p:pic>
        <p:nvPicPr>
          <p:cNvPr id="18" name="Picture 17">
            <a:extLst>
              <a:ext uri="{FF2B5EF4-FFF2-40B4-BE49-F238E27FC236}">
                <a16:creationId xmlns:a16="http://schemas.microsoft.com/office/drawing/2014/main" id="{2D19E1EC-375F-4805-82C6-C3FAB8393BE8}"/>
              </a:ext>
            </a:extLst>
          </p:cNvPr>
          <p:cNvPicPr>
            <a:picLocks noChangeAspect="1"/>
          </p:cNvPicPr>
          <p:nvPr/>
        </p:nvPicPr>
        <p:blipFill>
          <a:blip r:embed="rId4"/>
          <a:stretch>
            <a:fillRect/>
          </a:stretch>
        </p:blipFill>
        <p:spPr>
          <a:xfrm>
            <a:off x="7680101" y="803542"/>
            <a:ext cx="783034" cy="736516"/>
          </a:xfrm>
          <a:prstGeom prst="rect">
            <a:avLst/>
          </a:prstGeom>
        </p:spPr>
      </p:pic>
      <p:pic>
        <p:nvPicPr>
          <p:cNvPr id="19" name="Picture 18">
            <a:extLst>
              <a:ext uri="{FF2B5EF4-FFF2-40B4-BE49-F238E27FC236}">
                <a16:creationId xmlns:a16="http://schemas.microsoft.com/office/drawing/2014/main" id="{2825E54B-C939-4F7B-9669-A6EE037764F9}"/>
              </a:ext>
            </a:extLst>
          </p:cNvPr>
          <p:cNvPicPr>
            <a:picLocks noChangeAspect="1"/>
          </p:cNvPicPr>
          <p:nvPr/>
        </p:nvPicPr>
        <p:blipFill>
          <a:blip r:embed="rId4"/>
          <a:stretch>
            <a:fillRect/>
          </a:stretch>
        </p:blipFill>
        <p:spPr>
          <a:xfrm>
            <a:off x="7188634" y="793851"/>
            <a:ext cx="783034" cy="736516"/>
          </a:xfrm>
          <a:prstGeom prst="rect">
            <a:avLst/>
          </a:prstGeom>
        </p:spPr>
      </p:pic>
      <p:sp>
        <p:nvSpPr>
          <p:cNvPr id="20" name="TextBox 19">
            <a:extLst>
              <a:ext uri="{FF2B5EF4-FFF2-40B4-BE49-F238E27FC236}">
                <a16:creationId xmlns:a16="http://schemas.microsoft.com/office/drawing/2014/main" id="{3E11DE64-3C45-48E6-9B92-D5A59755F75C}"/>
              </a:ext>
            </a:extLst>
          </p:cNvPr>
          <p:cNvSpPr txBox="1"/>
          <p:nvPr/>
        </p:nvSpPr>
        <p:spPr>
          <a:xfrm>
            <a:off x="2189159" y="2837329"/>
            <a:ext cx="9084405" cy="523220"/>
          </a:xfrm>
          <a:prstGeom prst="rect">
            <a:avLst/>
          </a:prstGeom>
          <a:noFill/>
        </p:spPr>
        <p:txBody>
          <a:bodyPr wrap="square" rtlCol="0">
            <a:spAutoFit/>
          </a:bodyPr>
          <a:lstStyle/>
          <a:p>
            <a:r>
              <a:rPr lang="en-GB" sz="2800" b="1" dirty="0"/>
              <a:t>Applying Transforms (the action to get from A to B)</a:t>
            </a:r>
          </a:p>
        </p:txBody>
      </p:sp>
      <p:grpSp>
        <p:nvGrpSpPr>
          <p:cNvPr id="21" name="Group 20">
            <a:extLst>
              <a:ext uri="{FF2B5EF4-FFF2-40B4-BE49-F238E27FC236}">
                <a16:creationId xmlns:a16="http://schemas.microsoft.com/office/drawing/2014/main" id="{53B66FD3-A120-4845-8501-EB52F500D089}"/>
              </a:ext>
            </a:extLst>
          </p:cNvPr>
          <p:cNvGrpSpPr/>
          <p:nvPr/>
        </p:nvGrpSpPr>
        <p:grpSpPr>
          <a:xfrm>
            <a:off x="770721" y="3957146"/>
            <a:ext cx="10502844" cy="2519119"/>
            <a:chOff x="818346" y="4280996"/>
            <a:chExt cx="10502844" cy="2519119"/>
          </a:xfrm>
        </p:grpSpPr>
        <p:pic>
          <p:nvPicPr>
            <p:cNvPr id="22" name="Picture 21">
              <a:extLst>
                <a:ext uri="{FF2B5EF4-FFF2-40B4-BE49-F238E27FC236}">
                  <a16:creationId xmlns:a16="http://schemas.microsoft.com/office/drawing/2014/main" id="{9948D905-6DC4-42F0-920B-267ED1AD8B85}"/>
                </a:ext>
              </a:extLst>
            </p:cNvPr>
            <p:cNvPicPr>
              <a:picLocks noChangeAspect="1"/>
            </p:cNvPicPr>
            <p:nvPr/>
          </p:nvPicPr>
          <p:blipFill>
            <a:blip r:embed="rId2"/>
            <a:stretch>
              <a:fillRect/>
            </a:stretch>
          </p:blipFill>
          <p:spPr>
            <a:xfrm>
              <a:off x="6361572" y="4295205"/>
              <a:ext cx="1572112" cy="1821184"/>
            </a:xfrm>
            <a:prstGeom prst="rect">
              <a:avLst/>
            </a:prstGeom>
          </p:spPr>
        </p:pic>
        <p:pic>
          <p:nvPicPr>
            <p:cNvPr id="23" name="Picture 22">
              <a:extLst>
                <a:ext uri="{FF2B5EF4-FFF2-40B4-BE49-F238E27FC236}">
                  <a16:creationId xmlns:a16="http://schemas.microsoft.com/office/drawing/2014/main" id="{05EADC83-7F13-473A-93A0-964C404EAB37}"/>
                </a:ext>
              </a:extLst>
            </p:cNvPr>
            <p:cNvPicPr>
              <a:picLocks noChangeAspect="1"/>
            </p:cNvPicPr>
            <p:nvPr/>
          </p:nvPicPr>
          <p:blipFill>
            <a:blip r:embed="rId3"/>
            <a:stretch>
              <a:fillRect/>
            </a:stretch>
          </p:blipFill>
          <p:spPr>
            <a:xfrm>
              <a:off x="9555115" y="4280996"/>
              <a:ext cx="1504378" cy="1775323"/>
            </a:xfrm>
            <a:prstGeom prst="rect">
              <a:avLst/>
            </a:prstGeom>
          </p:spPr>
        </p:pic>
        <p:pic>
          <p:nvPicPr>
            <p:cNvPr id="24" name="Picture 23">
              <a:extLst>
                <a:ext uri="{FF2B5EF4-FFF2-40B4-BE49-F238E27FC236}">
                  <a16:creationId xmlns:a16="http://schemas.microsoft.com/office/drawing/2014/main" id="{7EE691AB-B7D4-431B-B2A7-18BCBD1E5F3B}"/>
                </a:ext>
              </a:extLst>
            </p:cNvPr>
            <p:cNvPicPr>
              <a:picLocks noChangeAspect="1"/>
            </p:cNvPicPr>
            <p:nvPr/>
          </p:nvPicPr>
          <p:blipFill>
            <a:blip r:embed="rId5"/>
            <a:stretch>
              <a:fillRect/>
            </a:stretch>
          </p:blipFill>
          <p:spPr>
            <a:xfrm>
              <a:off x="818346" y="4293418"/>
              <a:ext cx="716132" cy="1429444"/>
            </a:xfrm>
            <a:prstGeom prst="rect">
              <a:avLst/>
            </a:prstGeom>
          </p:spPr>
        </p:pic>
        <p:grpSp>
          <p:nvGrpSpPr>
            <p:cNvPr id="25" name="Group 24">
              <a:extLst>
                <a:ext uri="{FF2B5EF4-FFF2-40B4-BE49-F238E27FC236}">
                  <a16:creationId xmlns:a16="http://schemas.microsoft.com/office/drawing/2014/main" id="{195AA75F-F64F-4F8C-BD1F-6F2414F067EE}"/>
                </a:ext>
              </a:extLst>
            </p:cNvPr>
            <p:cNvGrpSpPr/>
            <p:nvPr/>
          </p:nvGrpSpPr>
          <p:grpSpPr>
            <a:xfrm>
              <a:off x="1923091" y="4833367"/>
              <a:ext cx="1362620" cy="716916"/>
              <a:chOff x="1427674" y="5706987"/>
              <a:chExt cx="1362620" cy="716916"/>
            </a:xfrm>
          </p:grpSpPr>
          <p:sp>
            <p:nvSpPr>
              <p:cNvPr id="35" name="Arrow: Right 34">
                <a:extLst>
                  <a:ext uri="{FF2B5EF4-FFF2-40B4-BE49-F238E27FC236}">
                    <a16:creationId xmlns:a16="http://schemas.microsoft.com/office/drawing/2014/main" id="{CC2B0647-BE0E-4450-8C19-BCE840DD35ED}"/>
                  </a:ext>
                </a:extLst>
              </p:cNvPr>
              <p:cNvSpPr/>
              <p:nvPr/>
            </p:nvSpPr>
            <p:spPr>
              <a:xfrm>
                <a:off x="1475299" y="570698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TextBox 35">
                <a:extLst>
                  <a:ext uri="{FF2B5EF4-FFF2-40B4-BE49-F238E27FC236}">
                    <a16:creationId xmlns:a16="http://schemas.microsoft.com/office/drawing/2014/main" id="{D54FA984-D7E2-4B76-B3E0-5A88C4BBB4AB}"/>
                  </a:ext>
                </a:extLst>
              </p:cNvPr>
              <p:cNvSpPr txBox="1"/>
              <p:nvPr/>
            </p:nvSpPr>
            <p:spPr>
              <a:xfrm>
                <a:off x="1427674" y="6054571"/>
                <a:ext cx="1131497" cy="369332"/>
              </a:xfrm>
              <a:prstGeom prst="rect">
                <a:avLst/>
              </a:prstGeom>
              <a:noFill/>
            </p:spPr>
            <p:txBody>
              <a:bodyPr wrap="square" rtlCol="0">
                <a:spAutoFit/>
              </a:bodyPr>
              <a:lstStyle/>
              <a:p>
                <a:pPr algn="ctr"/>
                <a:r>
                  <a:rPr lang="en-GB" b="1" dirty="0"/>
                  <a:t>CHANGE</a:t>
                </a:r>
              </a:p>
            </p:txBody>
          </p:sp>
        </p:grpSp>
        <p:sp>
          <p:nvSpPr>
            <p:cNvPr id="26" name="TextBox 25">
              <a:extLst>
                <a:ext uri="{FF2B5EF4-FFF2-40B4-BE49-F238E27FC236}">
                  <a16:creationId xmlns:a16="http://schemas.microsoft.com/office/drawing/2014/main" id="{D560F066-5CFD-4731-9D4E-04BEE6804FBF}"/>
                </a:ext>
              </a:extLst>
            </p:cNvPr>
            <p:cNvSpPr txBox="1"/>
            <p:nvPr/>
          </p:nvSpPr>
          <p:spPr>
            <a:xfrm>
              <a:off x="2236785" y="6116389"/>
              <a:ext cx="8822708" cy="523220"/>
            </a:xfrm>
            <a:prstGeom prst="rect">
              <a:avLst/>
            </a:prstGeom>
            <a:noFill/>
          </p:spPr>
          <p:txBody>
            <a:bodyPr wrap="square" rtlCol="0">
              <a:spAutoFit/>
            </a:bodyPr>
            <a:lstStyle/>
            <a:p>
              <a:r>
                <a:rPr lang="en-GB" sz="2800" b="1" dirty="0"/>
                <a:t>Promoting Artefacts</a:t>
              </a:r>
            </a:p>
          </p:txBody>
        </p:sp>
        <p:pic>
          <p:nvPicPr>
            <p:cNvPr id="27" name="Picture 26">
              <a:extLst>
                <a:ext uri="{FF2B5EF4-FFF2-40B4-BE49-F238E27FC236}">
                  <a16:creationId xmlns:a16="http://schemas.microsoft.com/office/drawing/2014/main" id="{3D85E202-A86C-488B-810B-2852E88E9886}"/>
                </a:ext>
              </a:extLst>
            </p:cNvPr>
            <p:cNvPicPr>
              <a:picLocks noChangeAspect="1"/>
            </p:cNvPicPr>
            <p:nvPr/>
          </p:nvPicPr>
          <p:blipFill>
            <a:blip r:embed="rId6"/>
            <a:stretch>
              <a:fillRect/>
            </a:stretch>
          </p:blipFill>
          <p:spPr>
            <a:xfrm>
              <a:off x="3214224" y="4816907"/>
              <a:ext cx="694267" cy="794300"/>
            </a:xfrm>
            <a:prstGeom prst="rect">
              <a:avLst/>
            </a:prstGeom>
          </p:spPr>
        </p:pic>
        <p:pic>
          <p:nvPicPr>
            <p:cNvPr id="28" name="Picture 27">
              <a:extLst>
                <a:ext uri="{FF2B5EF4-FFF2-40B4-BE49-F238E27FC236}">
                  <a16:creationId xmlns:a16="http://schemas.microsoft.com/office/drawing/2014/main" id="{1EB67640-7202-4646-8DA5-78CE34FDAE04}"/>
                </a:ext>
              </a:extLst>
            </p:cNvPr>
            <p:cNvPicPr>
              <a:picLocks noChangeAspect="1"/>
            </p:cNvPicPr>
            <p:nvPr/>
          </p:nvPicPr>
          <p:blipFill>
            <a:blip r:embed="rId4"/>
            <a:stretch>
              <a:fillRect/>
            </a:stretch>
          </p:blipFill>
          <p:spPr>
            <a:xfrm>
              <a:off x="3187649" y="4995711"/>
              <a:ext cx="1308742" cy="1230992"/>
            </a:xfrm>
            <a:prstGeom prst="rect">
              <a:avLst/>
            </a:prstGeom>
          </p:spPr>
        </p:pic>
        <p:pic>
          <p:nvPicPr>
            <p:cNvPr id="29" name="Picture 28">
              <a:extLst>
                <a:ext uri="{FF2B5EF4-FFF2-40B4-BE49-F238E27FC236}">
                  <a16:creationId xmlns:a16="http://schemas.microsoft.com/office/drawing/2014/main" id="{43A1B005-83C2-4199-B4F4-73F16C9A91B4}"/>
                </a:ext>
              </a:extLst>
            </p:cNvPr>
            <p:cNvPicPr>
              <a:picLocks noChangeAspect="1"/>
            </p:cNvPicPr>
            <p:nvPr/>
          </p:nvPicPr>
          <p:blipFill>
            <a:blip r:embed="rId6"/>
            <a:stretch>
              <a:fillRect/>
            </a:stretch>
          </p:blipFill>
          <p:spPr>
            <a:xfrm>
              <a:off x="7389508" y="4847761"/>
              <a:ext cx="694267" cy="794300"/>
            </a:xfrm>
            <a:prstGeom prst="rect">
              <a:avLst/>
            </a:prstGeom>
          </p:spPr>
        </p:pic>
        <p:pic>
          <p:nvPicPr>
            <p:cNvPr id="30" name="Picture 29">
              <a:extLst>
                <a:ext uri="{FF2B5EF4-FFF2-40B4-BE49-F238E27FC236}">
                  <a16:creationId xmlns:a16="http://schemas.microsoft.com/office/drawing/2014/main" id="{A0F08AA3-3D9B-40FE-9E65-EE4F88F1E01D}"/>
                </a:ext>
              </a:extLst>
            </p:cNvPr>
            <p:cNvPicPr>
              <a:picLocks noChangeAspect="1"/>
            </p:cNvPicPr>
            <p:nvPr/>
          </p:nvPicPr>
          <p:blipFill>
            <a:blip r:embed="rId6"/>
            <a:stretch>
              <a:fillRect/>
            </a:stretch>
          </p:blipFill>
          <p:spPr>
            <a:xfrm>
              <a:off x="10626923" y="4885663"/>
              <a:ext cx="694267" cy="794300"/>
            </a:xfrm>
            <a:prstGeom prst="rect">
              <a:avLst/>
            </a:prstGeom>
          </p:spPr>
        </p:pic>
        <p:cxnSp>
          <p:nvCxnSpPr>
            <p:cNvPr id="31" name="Connector: Curved 30">
              <a:extLst>
                <a:ext uri="{FF2B5EF4-FFF2-40B4-BE49-F238E27FC236}">
                  <a16:creationId xmlns:a16="http://schemas.microsoft.com/office/drawing/2014/main" id="{BBE6E984-1D27-4891-A0C8-1BBC3DCBD945}"/>
                </a:ext>
              </a:extLst>
            </p:cNvPr>
            <p:cNvCxnSpPr>
              <a:stCxn id="27" idx="0"/>
              <a:endCxn id="29" idx="2"/>
            </p:cNvCxnSpPr>
            <p:nvPr/>
          </p:nvCxnSpPr>
          <p:spPr>
            <a:xfrm rot="16200000" flipH="1">
              <a:off x="5236423" y="3141842"/>
              <a:ext cx="825154" cy="4175284"/>
            </a:xfrm>
            <a:prstGeom prst="curvedConnector5">
              <a:avLst>
                <a:gd name="adj1" fmla="val -50071"/>
                <a:gd name="adj2" fmla="val 47790"/>
                <a:gd name="adj3" fmla="val 169387"/>
              </a:avLst>
            </a:prstGeom>
            <a:ln w="571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32" name="Connector: Curved 31">
              <a:extLst>
                <a:ext uri="{FF2B5EF4-FFF2-40B4-BE49-F238E27FC236}">
                  <a16:creationId xmlns:a16="http://schemas.microsoft.com/office/drawing/2014/main" id="{CCC831C7-7B1E-4412-A815-F7F93D1EDD0B}"/>
                </a:ext>
              </a:extLst>
            </p:cNvPr>
            <p:cNvCxnSpPr>
              <a:stCxn id="29" idx="3"/>
              <a:endCxn id="30" idx="2"/>
            </p:cNvCxnSpPr>
            <p:nvPr/>
          </p:nvCxnSpPr>
          <p:spPr>
            <a:xfrm>
              <a:off x="8083775" y="5244911"/>
              <a:ext cx="2890282" cy="435052"/>
            </a:xfrm>
            <a:prstGeom prst="curvedConnector4">
              <a:avLst>
                <a:gd name="adj1" fmla="val 33256"/>
                <a:gd name="adj2" fmla="val 266313"/>
              </a:avLst>
            </a:prstGeom>
            <a:ln w="57150">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id="{48E82BA6-4662-469A-B63F-290DD4C0605C}"/>
                </a:ext>
              </a:extLst>
            </p:cNvPr>
            <p:cNvSpPr txBox="1"/>
            <p:nvPr/>
          </p:nvSpPr>
          <p:spPr>
            <a:xfrm>
              <a:off x="6231335" y="6226703"/>
              <a:ext cx="1603982" cy="461665"/>
            </a:xfrm>
            <a:prstGeom prst="rect">
              <a:avLst/>
            </a:prstGeom>
            <a:noFill/>
          </p:spPr>
          <p:txBody>
            <a:bodyPr wrap="square" rtlCol="0">
              <a:spAutoFit/>
            </a:bodyPr>
            <a:lstStyle/>
            <a:p>
              <a:r>
                <a:rPr lang="en-GB" sz="2400" b="1" dirty="0"/>
                <a:t>Delivery</a:t>
              </a:r>
            </a:p>
          </p:txBody>
        </p:sp>
        <p:sp>
          <p:nvSpPr>
            <p:cNvPr id="34" name="TextBox 33">
              <a:extLst>
                <a:ext uri="{FF2B5EF4-FFF2-40B4-BE49-F238E27FC236}">
                  <a16:creationId xmlns:a16="http://schemas.microsoft.com/office/drawing/2014/main" id="{01EB349B-0B15-4363-A1FE-A9116DD39E34}"/>
                </a:ext>
              </a:extLst>
            </p:cNvPr>
            <p:cNvSpPr txBox="1"/>
            <p:nvPr/>
          </p:nvSpPr>
          <p:spPr>
            <a:xfrm>
              <a:off x="9421751" y="6338450"/>
              <a:ext cx="1603982" cy="461665"/>
            </a:xfrm>
            <a:prstGeom prst="rect">
              <a:avLst/>
            </a:prstGeom>
            <a:noFill/>
          </p:spPr>
          <p:txBody>
            <a:bodyPr wrap="square" rtlCol="0">
              <a:spAutoFit/>
            </a:bodyPr>
            <a:lstStyle/>
            <a:p>
              <a:r>
                <a:rPr lang="en-GB" sz="2400" b="1" dirty="0"/>
                <a:t>Delivery</a:t>
              </a:r>
            </a:p>
          </p:txBody>
        </p:sp>
      </p:grpSp>
    </p:spTree>
    <p:extLst>
      <p:ext uri="{BB962C8B-B14F-4D97-AF65-F5344CB8AC3E}">
        <p14:creationId xmlns:p14="http://schemas.microsoft.com/office/powerpoint/2010/main" val="4192831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212C9-6B31-4D41-809C-AF8EF547EF38}"/>
              </a:ext>
            </a:extLst>
          </p:cNvPr>
          <p:cNvSpPr>
            <a:spLocks noGrp="1"/>
          </p:cNvSpPr>
          <p:nvPr>
            <p:ph type="title"/>
          </p:nvPr>
        </p:nvSpPr>
        <p:spPr/>
        <p:txBody>
          <a:bodyPr/>
          <a:lstStyle/>
          <a:p>
            <a:r>
              <a:rPr lang="en-GB" dirty="0"/>
              <a:t>How to create artefacts?</a:t>
            </a:r>
            <a:endParaRPr lang="en-US" dirty="0"/>
          </a:p>
        </p:txBody>
      </p:sp>
      <p:pic>
        <p:nvPicPr>
          <p:cNvPr id="4" name="Picture 3">
            <a:extLst>
              <a:ext uri="{FF2B5EF4-FFF2-40B4-BE49-F238E27FC236}">
                <a16:creationId xmlns:a16="http://schemas.microsoft.com/office/drawing/2014/main" id="{F71EF8B6-9517-462D-9421-DB2683D5D3DD}"/>
              </a:ext>
            </a:extLst>
          </p:cNvPr>
          <p:cNvPicPr>
            <a:picLocks noChangeAspect="1"/>
          </p:cNvPicPr>
          <p:nvPr/>
        </p:nvPicPr>
        <p:blipFill>
          <a:blip r:embed="rId2"/>
          <a:stretch>
            <a:fillRect/>
          </a:stretch>
        </p:blipFill>
        <p:spPr>
          <a:xfrm>
            <a:off x="1357892" y="1905990"/>
            <a:ext cx="9647666" cy="2726266"/>
          </a:xfrm>
          <a:prstGeom prst="rect">
            <a:avLst/>
          </a:prstGeom>
        </p:spPr>
      </p:pic>
      <p:sp>
        <p:nvSpPr>
          <p:cNvPr id="5" name="TextBox 4">
            <a:extLst>
              <a:ext uri="{FF2B5EF4-FFF2-40B4-BE49-F238E27FC236}">
                <a16:creationId xmlns:a16="http://schemas.microsoft.com/office/drawing/2014/main" id="{827F47FE-9694-433B-BD55-C086AD1C0955}"/>
              </a:ext>
            </a:extLst>
          </p:cNvPr>
          <p:cNvSpPr txBox="1"/>
          <p:nvPr/>
        </p:nvSpPr>
        <p:spPr>
          <a:xfrm>
            <a:off x="2337858" y="4318982"/>
            <a:ext cx="1507067" cy="584775"/>
          </a:xfrm>
          <a:prstGeom prst="rect">
            <a:avLst/>
          </a:prstGeom>
          <a:noFill/>
        </p:spPr>
        <p:txBody>
          <a:bodyPr wrap="square" rtlCol="0">
            <a:spAutoFit/>
          </a:bodyPr>
          <a:lstStyle/>
          <a:p>
            <a:r>
              <a:rPr lang="en-GB" sz="3200" b="1" dirty="0"/>
              <a:t>Source</a:t>
            </a:r>
          </a:p>
        </p:txBody>
      </p:sp>
      <p:sp>
        <p:nvSpPr>
          <p:cNvPr id="6" name="TextBox 5">
            <a:extLst>
              <a:ext uri="{FF2B5EF4-FFF2-40B4-BE49-F238E27FC236}">
                <a16:creationId xmlns:a16="http://schemas.microsoft.com/office/drawing/2014/main" id="{0885513C-B0AB-4F88-A1F0-7A3C47539DDF}"/>
              </a:ext>
            </a:extLst>
          </p:cNvPr>
          <p:cNvSpPr txBox="1"/>
          <p:nvPr/>
        </p:nvSpPr>
        <p:spPr>
          <a:xfrm>
            <a:off x="8493124" y="3916235"/>
            <a:ext cx="2353734" cy="584775"/>
          </a:xfrm>
          <a:prstGeom prst="rect">
            <a:avLst/>
          </a:prstGeom>
          <a:noFill/>
        </p:spPr>
        <p:txBody>
          <a:bodyPr wrap="square" rtlCol="0">
            <a:spAutoFit/>
          </a:bodyPr>
          <a:lstStyle/>
          <a:p>
            <a:r>
              <a:rPr lang="en-US" sz="3200" b="1" dirty="0"/>
              <a:t>Artefact</a:t>
            </a:r>
          </a:p>
        </p:txBody>
      </p:sp>
      <p:pic>
        <p:nvPicPr>
          <p:cNvPr id="7" name="Picture 6">
            <a:extLst>
              <a:ext uri="{FF2B5EF4-FFF2-40B4-BE49-F238E27FC236}">
                <a16:creationId xmlns:a16="http://schemas.microsoft.com/office/drawing/2014/main" id="{0523F0D3-C89B-4830-8DC3-9406A6F3AB2F}"/>
              </a:ext>
            </a:extLst>
          </p:cNvPr>
          <p:cNvPicPr>
            <a:picLocks noChangeAspect="1"/>
          </p:cNvPicPr>
          <p:nvPr/>
        </p:nvPicPr>
        <p:blipFill>
          <a:blip r:embed="rId3"/>
          <a:stretch>
            <a:fillRect/>
          </a:stretch>
        </p:blipFill>
        <p:spPr>
          <a:xfrm>
            <a:off x="2602333" y="4811198"/>
            <a:ext cx="694484" cy="693118"/>
          </a:xfrm>
          <a:prstGeom prst="rect">
            <a:avLst/>
          </a:prstGeom>
        </p:spPr>
      </p:pic>
      <p:pic>
        <p:nvPicPr>
          <p:cNvPr id="8" name="Picture 7">
            <a:extLst>
              <a:ext uri="{FF2B5EF4-FFF2-40B4-BE49-F238E27FC236}">
                <a16:creationId xmlns:a16="http://schemas.microsoft.com/office/drawing/2014/main" id="{5EABDC24-6FE8-4D61-AEE4-04B39750E12A}"/>
              </a:ext>
            </a:extLst>
          </p:cNvPr>
          <p:cNvPicPr>
            <a:picLocks noChangeAspect="1"/>
          </p:cNvPicPr>
          <p:nvPr/>
        </p:nvPicPr>
        <p:blipFill>
          <a:blip r:embed="rId4"/>
          <a:stretch>
            <a:fillRect/>
          </a:stretch>
        </p:blipFill>
        <p:spPr>
          <a:xfrm>
            <a:off x="10425641" y="4980197"/>
            <a:ext cx="1335617" cy="1263197"/>
          </a:xfrm>
          <a:prstGeom prst="rect">
            <a:avLst/>
          </a:prstGeom>
        </p:spPr>
      </p:pic>
      <p:sp>
        <p:nvSpPr>
          <p:cNvPr id="9" name="TextBox 8">
            <a:extLst>
              <a:ext uri="{FF2B5EF4-FFF2-40B4-BE49-F238E27FC236}">
                <a16:creationId xmlns:a16="http://schemas.microsoft.com/office/drawing/2014/main" id="{BDAF115C-AE1F-4D36-9DA1-F76CAD2BB2AF}"/>
              </a:ext>
            </a:extLst>
          </p:cNvPr>
          <p:cNvSpPr txBox="1"/>
          <p:nvPr/>
        </p:nvSpPr>
        <p:spPr>
          <a:xfrm>
            <a:off x="7036859" y="5516674"/>
            <a:ext cx="3555999" cy="584775"/>
          </a:xfrm>
          <a:prstGeom prst="rect">
            <a:avLst/>
          </a:prstGeom>
          <a:noFill/>
        </p:spPr>
        <p:txBody>
          <a:bodyPr wrap="square" rtlCol="0">
            <a:spAutoFit/>
          </a:bodyPr>
          <a:lstStyle/>
          <a:p>
            <a:r>
              <a:rPr lang="en-US" sz="3200" b="1" dirty="0"/>
              <a:t>Artefact Repository</a:t>
            </a:r>
          </a:p>
        </p:txBody>
      </p:sp>
      <p:cxnSp>
        <p:nvCxnSpPr>
          <p:cNvPr id="10" name="Connector: Curved 9">
            <a:extLst>
              <a:ext uri="{FF2B5EF4-FFF2-40B4-BE49-F238E27FC236}">
                <a16:creationId xmlns:a16="http://schemas.microsoft.com/office/drawing/2014/main" id="{6901D4D9-019E-44EC-A744-CAFA0603C9C5}"/>
              </a:ext>
            </a:extLst>
          </p:cNvPr>
          <p:cNvCxnSpPr>
            <a:cxnSpLocks/>
          </p:cNvCxnSpPr>
          <p:nvPr/>
        </p:nvCxnSpPr>
        <p:spPr>
          <a:xfrm rot="16200000" flipH="1">
            <a:off x="9666004" y="3730310"/>
            <a:ext cx="1626167" cy="1228725"/>
          </a:xfrm>
          <a:prstGeom prst="curvedConnector3">
            <a:avLst>
              <a:gd name="adj1" fmla="val 538"/>
            </a:avLst>
          </a:prstGeom>
          <a:ln w="57150">
            <a:tailEnd type="triangle"/>
          </a:ln>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3D25C496-363A-4068-965C-DA53CDD057D0}"/>
              </a:ext>
            </a:extLst>
          </p:cNvPr>
          <p:cNvSpPr/>
          <p:nvPr/>
        </p:nvSpPr>
        <p:spPr>
          <a:xfrm>
            <a:off x="488179" y="971828"/>
            <a:ext cx="11789545" cy="830997"/>
          </a:xfrm>
          <a:prstGeom prst="rect">
            <a:avLst/>
          </a:prstGeom>
        </p:spPr>
        <p:txBody>
          <a:bodyPr wrap="square">
            <a:spAutoFit/>
          </a:bodyPr>
          <a:lstStyle/>
          <a:p>
            <a:r>
              <a:rPr lang="en-GB" sz="2400" b="1" dirty="0"/>
              <a:t>“The pipeline […]</a:t>
            </a:r>
            <a:r>
              <a:rPr lang="en-GB" sz="2400" b="1" dirty="0">
                <a:solidFill>
                  <a:srgbClr val="111111"/>
                </a:solidFill>
                <a:latin typeface="Amazon Ember"/>
              </a:rPr>
              <a:t> applies its rules in a rigorous, unemotional way”</a:t>
            </a:r>
            <a:br>
              <a:rPr lang="en-GB" sz="2400" b="1" dirty="0">
                <a:solidFill>
                  <a:srgbClr val="111111"/>
                </a:solidFill>
                <a:latin typeface="Amazon Ember"/>
              </a:rPr>
            </a:br>
            <a:r>
              <a:rPr lang="en-GB" sz="2400" b="1" dirty="0">
                <a:solidFill>
                  <a:srgbClr val="111111"/>
                </a:solidFill>
                <a:latin typeface="Amazon Ember"/>
              </a:rPr>
              <a:t>   - Mark Schwartz, </a:t>
            </a:r>
            <a:r>
              <a:rPr lang="en-GB" sz="2400" b="1" i="1" dirty="0">
                <a:solidFill>
                  <a:srgbClr val="111111"/>
                </a:solidFill>
                <a:latin typeface="Amazon Ember"/>
              </a:rPr>
              <a:t>The Art of Business Value</a:t>
            </a:r>
            <a:endParaRPr lang="en-GB" sz="2400" b="1" dirty="0"/>
          </a:p>
        </p:txBody>
      </p:sp>
    </p:spTree>
    <p:extLst>
      <p:ext uri="{BB962C8B-B14F-4D97-AF65-F5344CB8AC3E}">
        <p14:creationId xmlns:p14="http://schemas.microsoft.com/office/powerpoint/2010/main" val="34019031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9" grpId="0"/>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831AC89-A242-418C-85A1-FAB37775D348}"/>
              </a:ext>
            </a:extLst>
          </p:cNvPr>
          <p:cNvPicPr>
            <a:picLocks noChangeAspect="1"/>
          </p:cNvPicPr>
          <p:nvPr/>
        </p:nvPicPr>
        <p:blipFill>
          <a:blip r:embed="rId2"/>
          <a:stretch>
            <a:fillRect/>
          </a:stretch>
        </p:blipFill>
        <p:spPr>
          <a:xfrm>
            <a:off x="506028" y="1212431"/>
            <a:ext cx="11354617" cy="5241634"/>
          </a:xfrm>
          <a:prstGeom prst="rect">
            <a:avLst/>
          </a:prstGeom>
        </p:spPr>
      </p:pic>
      <p:sp>
        <p:nvSpPr>
          <p:cNvPr id="2" name="Title 1">
            <a:extLst>
              <a:ext uri="{FF2B5EF4-FFF2-40B4-BE49-F238E27FC236}">
                <a16:creationId xmlns:a16="http://schemas.microsoft.com/office/drawing/2014/main" id="{C73E8012-0D57-4C44-82E2-8D83A290A51C}"/>
              </a:ext>
            </a:extLst>
          </p:cNvPr>
          <p:cNvSpPr>
            <a:spLocks noGrp="1"/>
          </p:cNvSpPr>
          <p:nvPr>
            <p:ph type="title"/>
          </p:nvPr>
        </p:nvSpPr>
        <p:spPr/>
        <p:txBody>
          <a:bodyPr/>
          <a:lstStyle/>
          <a:p>
            <a:r>
              <a:rPr lang="en-GB" dirty="0"/>
              <a:t>PowerShell Module Release Pipeline</a:t>
            </a:r>
            <a:endParaRPr lang="en-US" dirty="0"/>
          </a:p>
        </p:txBody>
      </p:sp>
    </p:spTree>
    <p:extLst>
      <p:ext uri="{BB962C8B-B14F-4D97-AF65-F5344CB8AC3E}">
        <p14:creationId xmlns:p14="http://schemas.microsoft.com/office/powerpoint/2010/main" val="237993457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CEDAA-01A8-409B-A225-8138A6D2FBE1}"/>
              </a:ext>
            </a:extLst>
          </p:cNvPr>
          <p:cNvSpPr>
            <a:spLocks noGrp="1"/>
          </p:cNvSpPr>
          <p:nvPr>
            <p:ph type="title"/>
          </p:nvPr>
        </p:nvSpPr>
        <p:spPr/>
        <p:txBody>
          <a:bodyPr/>
          <a:lstStyle/>
          <a:p>
            <a:r>
              <a:rPr lang="en-GB" dirty="0"/>
              <a:t>DSC Infrastructure Release Pipeline</a:t>
            </a:r>
            <a:endParaRPr lang="en-US" dirty="0"/>
          </a:p>
        </p:txBody>
      </p:sp>
      <p:pic>
        <p:nvPicPr>
          <p:cNvPr id="4" name="Picture 3">
            <a:extLst>
              <a:ext uri="{FF2B5EF4-FFF2-40B4-BE49-F238E27FC236}">
                <a16:creationId xmlns:a16="http://schemas.microsoft.com/office/drawing/2014/main" id="{C70EC40E-831B-41C6-9A53-44F618423C0A}"/>
              </a:ext>
            </a:extLst>
          </p:cNvPr>
          <p:cNvPicPr>
            <a:picLocks noChangeAspect="1"/>
          </p:cNvPicPr>
          <p:nvPr/>
        </p:nvPicPr>
        <p:blipFill>
          <a:blip r:embed="rId2"/>
          <a:stretch>
            <a:fillRect/>
          </a:stretch>
        </p:blipFill>
        <p:spPr>
          <a:xfrm>
            <a:off x="281000" y="2010630"/>
            <a:ext cx="9455666" cy="3641070"/>
          </a:xfrm>
          <a:prstGeom prst="rect">
            <a:avLst/>
          </a:prstGeom>
        </p:spPr>
      </p:pic>
      <p:pic>
        <p:nvPicPr>
          <p:cNvPr id="5" name="Picture 4">
            <a:extLst>
              <a:ext uri="{FF2B5EF4-FFF2-40B4-BE49-F238E27FC236}">
                <a16:creationId xmlns:a16="http://schemas.microsoft.com/office/drawing/2014/main" id="{BAE9A56D-C5CF-4FE0-A4C6-506854B1D0C6}"/>
              </a:ext>
            </a:extLst>
          </p:cNvPr>
          <p:cNvPicPr>
            <a:picLocks noChangeAspect="1"/>
          </p:cNvPicPr>
          <p:nvPr/>
        </p:nvPicPr>
        <p:blipFill>
          <a:blip r:embed="rId3"/>
          <a:stretch>
            <a:fillRect/>
          </a:stretch>
        </p:blipFill>
        <p:spPr>
          <a:xfrm>
            <a:off x="10117666" y="3407630"/>
            <a:ext cx="1540936" cy="1853906"/>
          </a:xfrm>
          <a:prstGeom prst="rect">
            <a:avLst/>
          </a:prstGeom>
        </p:spPr>
      </p:pic>
      <p:cxnSp>
        <p:nvCxnSpPr>
          <p:cNvPr id="6" name="Straight Arrow Connector 5">
            <a:extLst>
              <a:ext uri="{FF2B5EF4-FFF2-40B4-BE49-F238E27FC236}">
                <a16:creationId xmlns:a16="http://schemas.microsoft.com/office/drawing/2014/main" id="{92F3FBD0-3D40-41D8-962C-2A62B522D36A}"/>
              </a:ext>
            </a:extLst>
          </p:cNvPr>
          <p:cNvCxnSpPr>
            <a:cxnSpLocks/>
          </p:cNvCxnSpPr>
          <p:nvPr/>
        </p:nvCxnSpPr>
        <p:spPr>
          <a:xfrm>
            <a:off x="9592732" y="3543299"/>
            <a:ext cx="1202268" cy="17356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Straight Arrow Connector 6">
            <a:extLst>
              <a:ext uri="{FF2B5EF4-FFF2-40B4-BE49-F238E27FC236}">
                <a16:creationId xmlns:a16="http://schemas.microsoft.com/office/drawing/2014/main" id="{5D6A5BB7-3604-4220-A52C-029B9C358AD4}"/>
              </a:ext>
            </a:extLst>
          </p:cNvPr>
          <p:cNvCxnSpPr>
            <a:cxnSpLocks/>
          </p:cNvCxnSpPr>
          <p:nvPr/>
        </p:nvCxnSpPr>
        <p:spPr>
          <a:xfrm flipV="1">
            <a:off x="9592732" y="4274185"/>
            <a:ext cx="1202268" cy="430033"/>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61E34EE9-0C94-4503-8672-8B4B44C0E87F}"/>
              </a:ext>
            </a:extLst>
          </p:cNvPr>
          <p:cNvPicPr>
            <a:picLocks noChangeAspect="1"/>
          </p:cNvPicPr>
          <p:nvPr/>
        </p:nvPicPr>
        <p:blipFill>
          <a:blip r:embed="rId4"/>
          <a:stretch>
            <a:fillRect/>
          </a:stretch>
        </p:blipFill>
        <p:spPr>
          <a:xfrm>
            <a:off x="10619316" y="1440357"/>
            <a:ext cx="878417" cy="1140546"/>
          </a:xfrm>
          <a:prstGeom prst="rect">
            <a:avLst/>
          </a:prstGeom>
        </p:spPr>
      </p:pic>
      <p:cxnSp>
        <p:nvCxnSpPr>
          <p:cNvPr id="9" name="Straight Arrow Connector 8">
            <a:extLst>
              <a:ext uri="{FF2B5EF4-FFF2-40B4-BE49-F238E27FC236}">
                <a16:creationId xmlns:a16="http://schemas.microsoft.com/office/drawing/2014/main" id="{414A82A7-00A4-471D-92C1-641233CC3CCE}"/>
              </a:ext>
            </a:extLst>
          </p:cNvPr>
          <p:cNvCxnSpPr>
            <a:cxnSpLocks/>
            <a:endCxn id="8" idx="1"/>
          </p:cNvCxnSpPr>
          <p:nvPr/>
        </p:nvCxnSpPr>
        <p:spPr>
          <a:xfrm flipV="1">
            <a:off x="9417048" y="2010630"/>
            <a:ext cx="1202268" cy="261036"/>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027459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smiling for the camera&#10;&#10;Description automatically generated with medium confidence">
            <a:extLst>
              <a:ext uri="{FF2B5EF4-FFF2-40B4-BE49-F238E27FC236}">
                <a16:creationId xmlns:a16="http://schemas.microsoft.com/office/drawing/2014/main" id="{B11215E6-5A5E-4CA8-44B4-B4B17A694197}"/>
              </a:ext>
            </a:extLst>
          </p:cNvPr>
          <p:cNvPicPr>
            <a:picLocks noChangeAspect="1"/>
          </p:cNvPicPr>
          <p:nvPr/>
        </p:nvPicPr>
        <p:blipFill>
          <a:blip r:embed="rId2"/>
          <a:stretch>
            <a:fillRect/>
          </a:stretch>
        </p:blipFill>
        <p:spPr>
          <a:xfrm>
            <a:off x="230527" y="324853"/>
            <a:ext cx="3008627" cy="3472644"/>
          </a:xfrm>
          <a:prstGeom prst="rect">
            <a:avLst/>
          </a:prstGeom>
        </p:spPr>
      </p:pic>
      <p:sp>
        <p:nvSpPr>
          <p:cNvPr id="6" name="Title Placeholder 1">
            <a:extLst>
              <a:ext uri="{FF2B5EF4-FFF2-40B4-BE49-F238E27FC236}">
                <a16:creationId xmlns:a16="http://schemas.microsoft.com/office/drawing/2014/main" id="{5DD075C4-D810-4874-0C14-C43B37D93F2D}"/>
              </a:ext>
            </a:extLst>
          </p:cNvPr>
          <p:cNvSpPr txBox="1">
            <a:spLocks/>
          </p:cNvSpPr>
          <p:nvPr/>
        </p:nvSpPr>
        <p:spPr>
          <a:xfrm>
            <a:off x="3467313" y="324853"/>
            <a:ext cx="788648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GB" sz="5400" b="1" kern="1200" dirty="0">
                <a:solidFill>
                  <a:srgbClr val="3B2B46"/>
                </a:solidFill>
                <a:latin typeface="+mj-lt"/>
                <a:ea typeface="+mj-ea"/>
                <a:cs typeface="+mj-cs"/>
              </a:defRPr>
            </a:lvl1pPr>
          </a:lstStyle>
          <a:p>
            <a:r>
              <a:rPr lang="en-US" sz="6600" dirty="0">
                <a:solidFill>
                  <a:srgbClr val="346296"/>
                </a:solidFill>
                <a:latin typeface="+mn-lt"/>
                <a:ea typeface="+mn-ea"/>
                <a:cs typeface="+mn-cs"/>
              </a:rPr>
              <a:t>Raimund Andrée</a:t>
            </a:r>
          </a:p>
        </p:txBody>
      </p:sp>
      <p:sp>
        <p:nvSpPr>
          <p:cNvPr id="5" name="Text Placeholder 2">
            <a:extLst>
              <a:ext uri="{FF2B5EF4-FFF2-40B4-BE49-F238E27FC236}">
                <a16:creationId xmlns:a16="http://schemas.microsoft.com/office/drawing/2014/main" id="{93312970-1382-905E-DF3A-5D367E6E7736}"/>
              </a:ext>
            </a:extLst>
          </p:cNvPr>
          <p:cNvSpPr txBox="1">
            <a:spLocks/>
          </p:cNvSpPr>
          <p:nvPr/>
        </p:nvSpPr>
        <p:spPr>
          <a:xfrm>
            <a:off x="3467314" y="1852863"/>
            <a:ext cx="7886486" cy="43241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3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en-US" dirty="0"/>
              <a:t>PFE / CE, Microsoft Germany</a:t>
            </a:r>
          </a:p>
          <a:p>
            <a:pPr>
              <a:buFont typeface="Wingdings" panose="05000000000000000000" pitchFamily="2" charset="2"/>
              <a:buChar char="§"/>
            </a:pPr>
            <a:endParaRPr lang="en-US" dirty="0"/>
          </a:p>
          <a:p>
            <a:pPr>
              <a:buFont typeface="Wingdings" panose="05000000000000000000" pitchFamily="2" charset="2"/>
              <a:buChar char="§"/>
            </a:pPr>
            <a:r>
              <a:rPr lang="en-US" dirty="0"/>
              <a:t>DevOps, DSC, </a:t>
            </a:r>
            <a:r>
              <a:rPr lang="en-US" dirty="0" err="1"/>
              <a:t>PowerShelll</a:t>
            </a:r>
            <a:r>
              <a:rPr lang="en-US" dirty="0"/>
              <a:t>, Automation</a:t>
            </a:r>
          </a:p>
          <a:p>
            <a:pPr>
              <a:buFont typeface="Wingdings" panose="05000000000000000000" pitchFamily="2" charset="2"/>
              <a:buChar char="§"/>
            </a:pPr>
            <a:endParaRPr lang="en-US" dirty="0"/>
          </a:p>
          <a:p>
            <a:pPr>
              <a:buFont typeface="Wingdings" panose="05000000000000000000" pitchFamily="2" charset="2"/>
              <a:buChar char="§"/>
            </a:pPr>
            <a:r>
              <a:rPr lang="en-US" dirty="0"/>
              <a:t>Twitter: @raimundandree</a:t>
            </a:r>
          </a:p>
          <a:p>
            <a:pPr>
              <a:buFont typeface="Wingdings" panose="05000000000000000000" pitchFamily="2" charset="2"/>
              <a:buChar char="§"/>
            </a:pPr>
            <a:r>
              <a:rPr lang="en-US" dirty="0"/>
              <a:t>GitHub: </a:t>
            </a:r>
            <a:r>
              <a:rPr lang="en-US" dirty="0">
                <a:hlinkClick r:id="rId3"/>
              </a:rPr>
              <a:t>https://github.com/raandree</a:t>
            </a:r>
            <a:endParaRPr lang="en-US" dirty="0"/>
          </a:p>
        </p:txBody>
      </p:sp>
    </p:spTree>
    <p:extLst>
      <p:ext uri="{BB962C8B-B14F-4D97-AF65-F5344CB8AC3E}">
        <p14:creationId xmlns:p14="http://schemas.microsoft.com/office/powerpoint/2010/main" val="75109560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3CCDD73-8270-4248-8A44-0636C383546D}"/>
              </a:ext>
            </a:extLst>
          </p:cNvPr>
          <p:cNvPicPr>
            <a:picLocks noChangeAspect="1"/>
          </p:cNvPicPr>
          <p:nvPr/>
        </p:nvPicPr>
        <p:blipFill>
          <a:blip r:embed="rId2"/>
          <a:stretch>
            <a:fillRect/>
          </a:stretch>
        </p:blipFill>
        <p:spPr>
          <a:xfrm>
            <a:off x="113212" y="398896"/>
            <a:ext cx="6879772" cy="3730672"/>
          </a:xfrm>
          <a:prstGeom prst="rect">
            <a:avLst/>
          </a:prstGeom>
        </p:spPr>
      </p:pic>
      <p:pic>
        <p:nvPicPr>
          <p:cNvPr id="5" name="Picture 4">
            <a:extLst>
              <a:ext uri="{FF2B5EF4-FFF2-40B4-BE49-F238E27FC236}">
                <a16:creationId xmlns:a16="http://schemas.microsoft.com/office/drawing/2014/main" id="{41D5FAD0-D8B9-4BA4-85DA-C89003EDFB80}"/>
              </a:ext>
            </a:extLst>
          </p:cNvPr>
          <p:cNvPicPr>
            <a:picLocks noChangeAspect="1"/>
          </p:cNvPicPr>
          <p:nvPr/>
        </p:nvPicPr>
        <p:blipFill>
          <a:blip r:embed="rId3"/>
          <a:stretch>
            <a:fillRect/>
          </a:stretch>
        </p:blipFill>
        <p:spPr>
          <a:xfrm>
            <a:off x="3174275" y="3764680"/>
            <a:ext cx="7637418" cy="2940920"/>
          </a:xfrm>
          <a:prstGeom prst="rect">
            <a:avLst/>
          </a:prstGeom>
        </p:spPr>
      </p:pic>
      <p:cxnSp>
        <p:nvCxnSpPr>
          <p:cNvPr id="6" name="Connector: Elbow 5">
            <a:extLst>
              <a:ext uri="{FF2B5EF4-FFF2-40B4-BE49-F238E27FC236}">
                <a16:creationId xmlns:a16="http://schemas.microsoft.com/office/drawing/2014/main" id="{04AE7B7C-F750-4CA3-A540-3EC70EBFF06B}"/>
              </a:ext>
            </a:extLst>
          </p:cNvPr>
          <p:cNvCxnSpPr>
            <a:cxnSpLocks/>
            <a:stCxn id="4" idx="3"/>
          </p:cNvCxnSpPr>
          <p:nvPr/>
        </p:nvCxnSpPr>
        <p:spPr>
          <a:xfrm>
            <a:off x="6992984" y="2264232"/>
            <a:ext cx="629080" cy="2395065"/>
          </a:xfrm>
          <a:prstGeom prst="bentConnector2">
            <a:avLst/>
          </a:prstGeom>
          <a:ln w="57150">
            <a:tailEnd type="triangle"/>
          </a:ln>
        </p:spPr>
        <p:style>
          <a:lnRef idx="1">
            <a:schemeClr val="dk1"/>
          </a:lnRef>
          <a:fillRef idx="0">
            <a:schemeClr val="dk1"/>
          </a:fillRef>
          <a:effectRef idx="0">
            <a:schemeClr val="dk1"/>
          </a:effectRef>
          <a:fontRef idx="minor">
            <a:schemeClr val="tx1"/>
          </a:fontRef>
        </p:style>
      </p:cxnSp>
      <p:pic>
        <p:nvPicPr>
          <p:cNvPr id="7" name="Picture 6">
            <a:extLst>
              <a:ext uri="{FF2B5EF4-FFF2-40B4-BE49-F238E27FC236}">
                <a16:creationId xmlns:a16="http://schemas.microsoft.com/office/drawing/2014/main" id="{2B5CBC8F-D9F2-410B-A1F4-F563C83D1430}"/>
              </a:ext>
            </a:extLst>
          </p:cNvPr>
          <p:cNvPicPr>
            <a:picLocks noChangeAspect="1"/>
          </p:cNvPicPr>
          <p:nvPr/>
        </p:nvPicPr>
        <p:blipFill>
          <a:blip r:embed="rId4"/>
          <a:stretch>
            <a:fillRect/>
          </a:stretch>
        </p:blipFill>
        <p:spPr>
          <a:xfrm>
            <a:off x="10918434" y="4846547"/>
            <a:ext cx="1134289" cy="1364667"/>
          </a:xfrm>
          <a:prstGeom prst="rect">
            <a:avLst/>
          </a:prstGeom>
        </p:spPr>
      </p:pic>
      <p:cxnSp>
        <p:nvCxnSpPr>
          <p:cNvPr id="8" name="Straight Arrow Connector 7">
            <a:extLst>
              <a:ext uri="{FF2B5EF4-FFF2-40B4-BE49-F238E27FC236}">
                <a16:creationId xmlns:a16="http://schemas.microsoft.com/office/drawing/2014/main" id="{DE37CF4A-23AA-4320-86E9-E08D7DD2CFD1}"/>
              </a:ext>
            </a:extLst>
          </p:cNvPr>
          <p:cNvCxnSpPr>
            <a:cxnSpLocks/>
          </p:cNvCxnSpPr>
          <p:nvPr/>
        </p:nvCxnSpPr>
        <p:spPr>
          <a:xfrm>
            <a:off x="10585089" y="4846547"/>
            <a:ext cx="588008" cy="323521"/>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7A2A8505-B198-4244-802D-BCD2DAF1DBF5}"/>
              </a:ext>
            </a:extLst>
          </p:cNvPr>
          <p:cNvCxnSpPr>
            <a:cxnSpLocks/>
          </p:cNvCxnSpPr>
          <p:nvPr/>
        </p:nvCxnSpPr>
        <p:spPr>
          <a:xfrm flipV="1">
            <a:off x="10585089" y="5727828"/>
            <a:ext cx="588008" cy="279639"/>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427054FD-3D51-430D-8CF1-FC40489DB15A}"/>
              </a:ext>
            </a:extLst>
          </p:cNvPr>
          <p:cNvPicPr>
            <a:picLocks noChangeAspect="1"/>
          </p:cNvPicPr>
          <p:nvPr/>
        </p:nvPicPr>
        <p:blipFill>
          <a:blip r:embed="rId5"/>
          <a:stretch>
            <a:fillRect/>
          </a:stretch>
        </p:blipFill>
        <p:spPr>
          <a:xfrm>
            <a:off x="11288371" y="2970812"/>
            <a:ext cx="646606" cy="839560"/>
          </a:xfrm>
          <a:prstGeom prst="rect">
            <a:avLst/>
          </a:prstGeom>
        </p:spPr>
      </p:pic>
      <p:cxnSp>
        <p:nvCxnSpPr>
          <p:cNvPr id="11" name="Straight Arrow Connector 10">
            <a:extLst>
              <a:ext uri="{FF2B5EF4-FFF2-40B4-BE49-F238E27FC236}">
                <a16:creationId xmlns:a16="http://schemas.microsoft.com/office/drawing/2014/main" id="{BAD984D5-F33B-45E5-931E-65DBD5DD2BC6}"/>
              </a:ext>
            </a:extLst>
          </p:cNvPr>
          <p:cNvCxnSpPr>
            <a:cxnSpLocks/>
            <a:endCxn id="10" idx="1"/>
          </p:cNvCxnSpPr>
          <p:nvPr/>
        </p:nvCxnSpPr>
        <p:spPr>
          <a:xfrm flipV="1">
            <a:off x="10659291" y="3390592"/>
            <a:ext cx="629080" cy="46819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BCF26430-0F80-44F3-ABE8-A8871C9914D0}"/>
              </a:ext>
            </a:extLst>
          </p:cNvPr>
          <p:cNvSpPr txBox="1"/>
          <p:nvPr/>
        </p:nvSpPr>
        <p:spPr>
          <a:xfrm>
            <a:off x="7420921" y="858990"/>
            <a:ext cx="3975768" cy="954107"/>
          </a:xfrm>
          <a:prstGeom prst="rect">
            <a:avLst/>
          </a:prstGeom>
          <a:noFill/>
        </p:spPr>
        <p:txBody>
          <a:bodyPr wrap="none" rtlCol="0">
            <a:spAutoFit/>
          </a:bodyPr>
          <a:lstStyle/>
          <a:p>
            <a:r>
              <a:rPr lang="en-GB" sz="2800" b="1" dirty="0"/>
              <a:t>Limit the change scope</a:t>
            </a:r>
          </a:p>
          <a:p>
            <a:r>
              <a:rPr lang="en-GB" sz="2800" b="1" dirty="0"/>
              <a:t>Increase trust in artefacts</a:t>
            </a:r>
          </a:p>
        </p:txBody>
      </p:sp>
    </p:spTree>
    <p:extLst>
      <p:ext uri="{BB962C8B-B14F-4D97-AF65-F5344CB8AC3E}">
        <p14:creationId xmlns:p14="http://schemas.microsoft.com/office/powerpoint/2010/main" val="3785510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0F246F8-B4D2-42CF-AAF6-0166566BDD06}"/>
              </a:ext>
            </a:extLst>
          </p:cNvPr>
          <p:cNvPicPr>
            <a:picLocks noChangeAspect="1"/>
          </p:cNvPicPr>
          <p:nvPr/>
        </p:nvPicPr>
        <p:blipFill>
          <a:blip r:embed="rId2"/>
          <a:stretch>
            <a:fillRect/>
          </a:stretch>
        </p:blipFill>
        <p:spPr>
          <a:xfrm>
            <a:off x="337351" y="199839"/>
            <a:ext cx="11448250" cy="5005729"/>
          </a:xfrm>
          <a:prstGeom prst="rect">
            <a:avLst/>
          </a:prstGeom>
        </p:spPr>
      </p:pic>
      <p:grpSp>
        <p:nvGrpSpPr>
          <p:cNvPr id="12" name="Group 11">
            <a:extLst>
              <a:ext uri="{FF2B5EF4-FFF2-40B4-BE49-F238E27FC236}">
                <a16:creationId xmlns:a16="http://schemas.microsoft.com/office/drawing/2014/main" id="{031EDB22-8FB6-48D6-BFCA-64E7C4FA6240}"/>
              </a:ext>
            </a:extLst>
          </p:cNvPr>
          <p:cNvGrpSpPr/>
          <p:nvPr/>
        </p:nvGrpSpPr>
        <p:grpSpPr>
          <a:xfrm>
            <a:off x="965200" y="5283200"/>
            <a:ext cx="10820401" cy="1568049"/>
            <a:chOff x="965200" y="5283200"/>
            <a:chExt cx="10820401" cy="1568049"/>
          </a:xfrm>
        </p:grpSpPr>
        <p:pic>
          <p:nvPicPr>
            <p:cNvPr id="13" name="Picture 12">
              <a:extLst>
                <a:ext uri="{FF2B5EF4-FFF2-40B4-BE49-F238E27FC236}">
                  <a16:creationId xmlns:a16="http://schemas.microsoft.com/office/drawing/2014/main" id="{192EF905-961A-4DF6-A630-95D1F9341FB8}"/>
                </a:ext>
              </a:extLst>
            </p:cNvPr>
            <p:cNvPicPr>
              <a:picLocks noChangeAspect="1"/>
            </p:cNvPicPr>
            <p:nvPr/>
          </p:nvPicPr>
          <p:blipFill>
            <a:blip r:embed="rId3"/>
            <a:stretch>
              <a:fillRect/>
            </a:stretch>
          </p:blipFill>
          <p:spPr>
            <a:xfrm>
              <a:off x="965200" y="5283200"/>
              <a:ext cx="10820401" cy="1568049"/>
            </a:xfrm>
            <a:prstGeom prst="rect">
              <a:avLst/>
            </a:prstGeom>
          </p:spPr>
        </p:pic>
        <p:sp>
          <p:nvSpPr>
            <p:cNvPr id="14" name="TextBox 13">
              <a:extLst>
                <a:ext uri="{FF2B5EF4-FFF2-40B4-BE49-F238E27FC236}">
                  <a16:creationId xmlns:a16="http://schemas.microsoft.com/office/drawing/2014/main" id="{7CAED399-0729-4E66-8361-A0D5554C836C}"/>
                </a:ext>
              </a:extLst>
            </p:cNvPr>
            <p:cNvSpPr txBox="1"/>
            <p:nvPr/>
          </p:nvSpPr>
          <p:spPr>
            <a:xfrm>
              <a:off x="5721531" y="6035040"/>
              <a:ext cx="5860869" cy="646331"/>
            </a:xfrm>
            <a:prstGeom prst="rect">
              <a:avLst/>
            </a:prstGeom>
            <a:noFill/>
          </p:spPr>
          <p:txBody>
            <a:bodyPr wrap="square" rtlCol="0">
              <a:spAutoFit/>
            </a:bodyPr>
            <a:lstStyle/>
            <a:p>
              <a:r>
                <a:rPr lang="en-GB" sz="3600" b="1" dirty="0"/>
                <a:t>DELAY IN FEEDBACK</a:t>
              </a:r>
            </a:p>
          </p:txBody>
        </p:sp>
      </p:grpSp>
      <p:grpSp>
        <p:nvGrpSpPr>
          <p:cNvPr id="15" name="Group 14">
            <a:extLst>
              <a:ext uri="{FF2B5EF4-FFF2-40B4-BE49-F238E27FC236}">
                <a16:creationId xmlns:a16="http://schemas.microsoft.com/office/drawing/2014/main" id="{53BCF77F-E7AD-440D-ADE4-646785C15896}"/>
              </a:ext>
            </a:extLst>
          </p:cNvPr>
          <p:cNvGrpSpPr/>
          <p:nvPr/>
        </p:nvGrpSpPr>
        <p:grpSpPr>
          <a:xfrm>
            <a:off x="1775532" y="5389910"/>
            <a:ext cx="10330402" cy="707886"/>
            <a:chOff x="2041864" y="5381032"/>
            <a:chExt cx="10330402" cy="707886"/>
          </a:xfrm>
        </p:grpSpPr>
        <p:sp>
          <p:nvSpPr>
            <p:cNvPr id="16" name="TextBox 15">
              <a:extLst>
                <a:ext uri="{FF2B5EF4-FFF2-40B4-BE49-F238E27FC236}">
                  <a16:creationId xmlns:a16="http://schemas.microsoft.com/office/drawing/2014/main" id="{D36690F6-9EC6-4EDB-9A46-094E83F967E3}"/>
                </a:ext>
              </a:extLst>
            </p:cNvPr>
            <p:cNvSpPr txBox="1"/>
            <p:nvPr/>
          </p:nvSpPr>
          <p:spPr>
            <a:xfrm>
              <a:off x="9593555" y="5381032"/>
              <a:ext cx="2778711" cy="707886"/>
            </a:xfrm>
            <a:prstGeom prst="rect">
              <a:avLst/>
            </a:prstGeom>
            <a:noFill/>
          </p:spPr>
          <p:txBody>
            <a:bodyPr wrap="square" rtlCol="0">
              <a:spAutoFit/>
            </a:bodyPr>
            <a:lstStyle/>
            <a:p>
              <a:r>
                <a:rPr lang="en-GB" sz="4000" b="1" dirty="0"/>
                <a:t>SHIFT LEFT</a:t>
              </a:r>
            </a:p>
          </p:txBody>
        </p:sp>
        <p:cxnSp>
          <p:nvCxnSpPr>
            <p:cNvPr id="17" name="Straight Arrow Connector 16">
              <a:extLst>
                <a:ext uri="{FF2B5EF4-FFF2-40B4-BE49-F238E27FC236}">
                  <a16:creationId xmlns:a16="http://schemas.microsoft.com/office/drawing/2014/main" id="{39D3B5E6-F25B-4D27-A79D-3C023ADEF80C}"/>
                </a:ext>
              </a:extLst>
            </p:cNvPr>
            <p:cNvCxnSpPr>
              <a:cxnSpLocks/>
            </p:cNvCxnSpPr>
            <p:nvPr/>
          </p:nvCxnSpPr>
          <p:spPr>
            <a:xfrm flipH="1">
              <a:off x="2041864" y="5734975"/>
              <a:ext cx="7483876" cy="0"/>
            </a:xfrm>
            <a:prstGeom prst="straightConnector1">
              <a:avLst/>
            </a:prstGeom>
            <a:ln w="7620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3E8A5-A0B0-4C8B-ACA5-651873EA8438}"/>
              </a:ext>
            </a:extLst>
          </p:cNvPr>
          <p:cNvSpPr>
            <a:spLocks noGrp="1"/>
          </p:cNvSpPr>
          <p:nvPr>
            <p:ph type="title"/>
          </p:nvPr>
        </p:nvSpPr>
        <p:spPr/>
        <p:txBody>
          <a:bodyPr/>
          <a:lstStyle/>
          <a:p>
            <a:r>
              <a:rPr lang="en-US" dirty="0"/>
              <a:t>Demo: Fail Fast</a:t>
            </a:r>
            <a:endParaRPr lang="LID4096" dirty="0"/>
          </a:p>
        </p:txBody>
      </p:sp>
    </p:spTree>
    <p:extLst>
      <p:ext uri="{BB962C8B-B14F-4D97-AF65-F5344CB8AC3E}">
        <p14:creationId xmlns:p14="http://schemas.microsoft.com/office/powerpoint/2010/main" val="10296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3E8A5-A0B0-4C8B-ACA5-651873EA8438}"/>
              </a:ext>
            </a:extLst>
          </p:cNvPr>
          <p:cNvSpPr>
            <a:spLocks noGrp="1"/>
          </p:cNvSpPr>
          <p:nvPr>
            <p:ph type="title"/>
          </p:nvPr>
        </p:nvSpPr>
        <p:spPr/>
        <p:txBody>
          <a:bodyPr/>
          <a:lstStyle/>
          <a:p>
            <a:r>
              <a:rPr lang="en-US" dirty="0"/>
              <a:t>Demo: </a:t>
            </a:r>
            <a:r>
              <a:rPr lang="en-US"/>
              <a:t>Delivering Change</a:t>
            </a:r>
            <a:endParaRPr lang="LID4096" dirty="0"/>
          </a:p>
        </p:txBody>
      </p:sp>
    </p:spTree>
    <p:extLst>
      <p:ext uri="{BB962C8B-B14F-4D97-AF65-F5344CB8AC3E}">
        <p14:creationId xmlns:p14="http://schemas.microsoft.com/office/powerpoint/2010/main" val="119275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94CA9-6B0A-4D65-9C6C-D5642969DA9C}"/>
              </a:ext>
            </a:extLst>
          </p:cNvPr>
          <p:cNvSpPr>
            <a:spLocks noGrp="1"/>
          </p:cNvSpPr>
          <p:nvPr>
            <p:ph type="title"/>
          </p:nvPr>
        </p:nvSpPr>
        <p:spPr/>
        <p:txBody>
          <a:bodyPr/>
          <a:lstStyle/>
          <a:p>
            <a:r>
              <a:rPr lang="en-US" dirty="0"/>
              <a:t>Thank You!</a:t>
            </a:r>
          </a:p>
        </p:txBody>
      </p:sp>
      <p:sp>
        <p:nvSpPr>
          <p:cNvPr id="3" name="Text Placeholder 2">
            <a:extLst>
              <a:ext uri="{FF2B5EF4-FFF2-40B4-BE49-F238E27FC236}">
                <a16:creationId xmlns:a16="http://schemas.microsoft.com/office/drawing/2014/main" id="{5F969747-809E-48A6-A10B-E66407AC18D0}"/>
              </a:ext>
            </a:extLst>
          </p:cNvPr>
          <p:cNvSpPr>
            <a:spLocks noGrp="1"/>
          </p:cNvSpPr>
          <p:nvPr>
            <p:ph type="body" sz="quarter" idx="10"/>
          </p:nvPr>
        </p:nvSpPr>
        <p:spPr/>
        <p:txBody>
          <a:bodyPr/>
          <a:lstStyle/>
          <a:p>
            <a:pPr fontAlgn="base"/>
            <a:r>
              <a:rPr lang="en-US" dirty="0">
                <a:hlinkClick r:id="rId2"/>
              </a:rPr>
              <a:t>DSC Community</a:t>
            </a:r>
            <a:endParaRPr lang="en-US" dirty="0"/>
          </a:p>
          <a:p>
            <a:pPr fontAlgn="base"/>
            <a:endParaRPr lang="en-US" dirty="0"/>
          </a:p>
          <a:p>
            <a:pPr fontAlgn="base"/>
            <a:r>
              <a:rPr lang="en-US" dirty="0" err="1">
                <a:hlinkClick r:id="rId3"/>
              </a:rPr>
              <a:t>gaelcolas</a:t>
            </a:r>
            <a:r>
              <a:rPr lang="en-US" dirty="0">
                <a:hlinkClick r:id="rId3"/>
              </a:rPr>
              <a:t>/datum: Hierarchical data meta structure (github.com)</a:t>
            </a:r>
            <a:endParaRPr lang="en-US" dirty="0"/>
          </a:p>
          <a:p>
            <a:pPr fontAlgn="base"/>
            <a:endParaRPr lang="en-US" dirty="0"/>
          </a:p>
          <a:p>
            <a:pPr fontAlgn="base"/>
            <a:r>
              <a:rPr lang="en-US" dirty="0" err="1">
                <a:hlinkClick r:id="rId4"/>
              </a:rPr>
              <a:t>dsccommunity</a:t>
            </a:r>
            <a:r>
              <a:rPr lang="en-US" dirty="0">
                <a:hlinkClick r:id="rId4"/>
              </a:rPr>
              <a:t>/</a:t>
            </a:r>
            <a:r>
              <a:rPr lang="en-US" dirty="0" err="1">
                <a:hlinkClick r:id="rId4"/>
              </a:rPr>
              <a:t>DscWorkshop</a:t>
            </a:r>
            <a:r>
              <a:rPr lang="en-US" dirty="0">
                <a:hlinkClick r:id="rId4"/>
              </a:rPr>
              <a:t>: Blueprint for a full featured DSC project for Push / Pull with or without CI/CD (github.com)</a:t>
            </a:r>
            <a:endParaRPr lang="en-US" dirty="0"/>
          </a:p>
          <a:p>
            <a:pPr fontAlgn="base"/>
            <a:endParaRPr lang="en-US" dirty="0"/>
          </a:p>
          <a:p>
            <a:pPr fontAlgn="base"/>
            <a:r>
              <a:rPr lang="en-US" dirty="0">
                <a:hlinkClick r:id="rId5"/>
              </a:rPr>
              <a:t>raandree/</a:t>
            </a:r>
            <a:r>
              <a:rPr lang="en-US" dirty="0" err="1">
                <a:hlinkClick r:id="rId5"/>
              </a:rPr>
              <a:t>DscConfig.Demo</a:t>
            </a:r>
            <a:r>
              <a:rPr lang="en-US" dirty="0">
                <a:hlinkClick r:id="rId5"/>
              </a:rPr>
              <a:t>: DSC Configuration (Composite Resource) for demo DSC and Datum (github.com)</a:t>
            </a:r>
            <a:endParaRPr lang="en-US" dirty="0"/>
          </a:p>
          <a:p>
            <a:pPr fontAlgn="base"/>
            <a:endParaRPr lang="en-US" dirty="0"/>
          </a:p>
          <a:p>
            <a:pPr fontAlgn="base"/>
            <a:r>
              <a:rPr lang="en-US" dirty="0">
                <a:hlinkClick r:id="rId6"/>
              </a:rPr>
              <a:t>AutomatedLab - Lab automation from users for users</a:t>
            </a:r>
            <a:endParaRPr lang="en-US" dirty="0"/>
          </a:p>
        </p:txBody>
      </p:sp>
    </p:spTree>
    <p:extLst>
      <p:ext uri="{BB962C8B-B14F-4D97-AF65-F5344CB8AC3E}">
        <p14:creationId xmlns:p14="http://schemas.microsoft.com/office/powerpoint/2010/main" val="16085780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063F7B61-5334-421F-9456-A905D333F4B3}"/>
              </a:ext>
            </a:extLst>
          </p:cNvPr>
          <p:cNvSpPr txBox="1">
            <a:spLocks/>
          </p:cNvSpPr>
          <p:nvPr/>
        </p:nvSpPr>
        <p:spPr>
          <a:xfrm>
            <a:off x="831850" y="529389"/>
            <a:ext cx="10515600" cy="100463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1" kern="1200">
                <a:solidFill>
                  <a:srgbClr val="3B2B46"/>
                </a:solidFill>
                <a:latin typeface="+mj-lt"/>
                <a:ea typeface="+mj-ea"/>
                <a:cs typeface="+mj-cs"/>
              </a:defRPr>
            </a:lvl1pPr>
          </a:lstStyle>
          <a:p>
            <a:r>
              <a:rPr lang="en-GB"/>
              <a:t>Q&amp;A</a:t>
            </a:r>
          </a:p>
        </p:txBody>
      </p:sp>
      <p:sp>
        <p:nvSpPr>
          <p:cNvPr id="10" name="Text Placeholder 4">
            <a:extLst>
              <a:ext uri="{FF2B5EF4-FFF2-40B4-BE49-F238E27FC236}">
                <a16:creationId xmlns:a16="http://schemas.microsoft.com/office/drawing/2014/main" id="{E7911686-C4FE-022C-2490-99F4F5BFDF39}"/>
              </a:ext>
            </a:extLst>
          </p:cNvPr>
          <p:cNvSpPr txBox="1">
            <a:spLocks/>
          </p:cNvSpPr>
          <p:nvPr/>
        </p:nvSpPr>
        <p:spPr>
          <a:xfrm>
            <a:off x="831850" y="1653758"/>
            <a:ext cx="10515600" cy="150018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GB"/>
              <a:t>15 minutes</a:t>
            </a:r>
          </a:p>
        </p:txBody>
      </p:sp>
      <p:pic>
        <p:nvPicPr>
          <p:cNvPr id="2" name="Picture 2">
            <a:extLst>
              <a:ext uri="{FF2B5EF4-FFF2-40B4-BE49-F238E27FC236}">
                <a16:creationId xmlns:a16="http://schemas.microsoft.com/office/drawing/2014/main" id="{04697E65-3DA9-6EF3-472C-734FB98C3839}"/>
              </a:ext>
            </a:extLst>
          </p:cNvPr>
          <p:cNvPicPr>
            <a:picLocks noChangeAspect="1"/>
          </p:cNvPicPr>
          <p:nvPr/>
        </p:nvPicPr>
        <p:blipFill>
          <a:blip r:embed="rId2"/>
          <a:stretch>
            <a:fillRect/>
          </a:stretch>
        </p:blipFill>
        <p:spPr>
          <a:xfrm>
            <a:off x="2731477" y="1770873"/>
            <a:ext cx="6729046" cy="359174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30651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CE359-3F58-495F-A5F5-70BC8BEE249B}"/>
              </a:ext>
            </a:extLst>
          </p:cNvPr>
          <p:cNvSpPr>
            <a:spLocks noGrp="1"/>
          </p:cNvSpPr>
          <p:nvPr>
            <p:ph type="title"/>
          </p:nvPr>
        </p:nvSpPr>
        <p:spPr/>
        <p:txBody>
          <a:bodyPr/>
          <a:lstStyle/>
          <a:p>
            <a:r>
              <a:rPr lang="en-US"/>
              <a:t>Credits</a:t>
            </a:r>
          </a:p>
        </p:txBody>
      </p:sp>
      <p:sp>
        <p:nvSpPr>
          <p:cNvPr id="3" name="Text Placeholder 2">
            <a:extLst>
              <a:ext uri="{FF2B5EF4-FFF2-40B4-BE49-F238E27FC236}">
                <a16:creationId xmlns:a16="http://schemas.microsoft.com/office/drawing/2014/main" id="{CF5FA86A-3E84-4208-8635-5EEDEAF9EFB9}"/>
              </a:ext>
            </a:extLst>
          </p:cNvPr>
          <p:cNvSpPr>
            <a:spLocks noGrp="1"/>
          </p:cNvSpPr>
          <p:nvPr>
            <p:ph type="body" sz="quarter" idx="10"/>
          </p:nvPr>
        </p:nvSpPr>
        <p:spPr>
          <a:xfrm>
            <a:off x="586390" y="1434370"/>
            <a:ext cx="11018520" cy="3016210"/>
          </a:xfrm>
        </p:spPr>
        <p:txBody>
          <a:bodyPr/>
          <a:lstStyle/>
          <a:p>
            <a:pPr marL="457200" indent="-457200">
              <a:buFont typeface="Arial" panose="020B0604020202020204" pitchFamily="34" charset="0"/>
              <a:buChar char="•"/>
            </a:pPr>
            <a:r>
              <a:rPr lang="en-GB" dirty="0"/>
              <a:t>This presentation is based on the work of</a:t>
            </a:r>
          </a:p>
          <a:p>
            <a:pPr marL="457200" indent="-457200">
              <a:buFont typeface="Arial" panose="020B0604020202020204" pitchFamily="34" charset="0"/>
              <a:buChar char="•"/>
            </a:pPr>
            <a:r>
              <a:rPr lang="en-US" dirty="0"/>
              <a:t>Gael Colas @gaelcolas</a:t>
            </a:r>
          </a:p>
          <a:p>
            <a:pPr marL="457200" indent="-457200">
              <a:buFont typeface="Arial" panose="020B0604020202020204" pitchFamily="34" charset="0"/>
              <a:buChar char="•"/>
            </a:pPr>
            <a:r>
              <a:rPr lang="en-US" dirty="0"/>
              <a:t>Michael Greene @migreene</a:t>
            </a:r>
          </a:p>
          <a:p>
            <a:pPr marL="457200" indent="-457200">
              <a:buFont typeface="Arial" panose="020B0604020202020204" pitchFamily="34" charset="0"/>
              <a:buChar char="•"/>
            </a:pPr>
            <a:r>
              <a:rPr lang="en-US" dirty="0"/>
              <a:t>Steven Murawski @StevenMurawski</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The Release Pipeline Model </a:t>
            </a:r>
            <a:r>
              <a:rPr lang="en-US" dirty="0">
                <a:hlinkClick r:id="rId3"/>
              </a:rPr>
              <a:t>http://aka.ms/trpm</a:t>
            </a:r>
            <a:endParaRPr lang="en-US" dirty="0"/>
          </a:p>
        </p:txBody>
      </p:sp>
    </p:spTree>
    <p:extLst>
      <p:ext uri="{BB962C8B-B14F-4D97-AF65-F5344CB8AC3E}">
        <p14:creationId xmlns:p14="http://schemas.microsoft.com/office/powerpoint/2010/main" val="29800224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CE359-3F58-495F-A5F5-70BC8BEE249B}"/>
              </a:ext>
            </a:extLst>
          </p:cNvPr>
          <p:cNvSpPr>
            <a:spLocks noGrp="1"/>
          </p:cNvSpPr>
          <p:nvPr>
            <p:ph type="title"/>
          </p:nvPr>
        </p:nvSpPr>
        <p:spPr/>
        <p:txBody>
          <a:bodyPr/>
          <a:lstStyle/>
          <a:p>
            <a:r>
              <a:rPr lang="de-DE" dirty="0"/>
              <a:t>Agenda</a:t>
            </a:r>
            <a:endParaRPr lang="en-US" dirty="0"/>
          </a:p>
        </p:txBody>
      </p:sp>
      <p:sp>
        <p:nvSpPr>
          <p:cNvPr id="3" name="Text Placeholder 2">
            <a:extLst>
              <a:ext uri="{FF2B5EF4-FFF2-40B4-BE49-F238E27FC236}">
                <a16:creationId xmlns:a16="http://schemas.microsoft.com/office/drawing/2014/main" id="{CF5FA86A-3E84-4208-8635-5EEDEAF9EFB9}"/>
              </a:ext>
            </a:extLst>
          </p:cNvPr>
          <p:cNvSpPr>
            <a:spLocks noGrp="1"/>
          </p:cNvSpPr>
          <p:nvPr>
            <p:ph type="body" sz="quarter" idx="10"/>
          </p:nvPr>
        </p:nvSpPr>
        <p:spPr>
          <a:xfrm>
            <a:off x="586390" y="1434370"/>
            <a:ext cx="11018520" cy="2573012"/>
          </a:xfrm>
        </p:spPr>
        <p:txBody>
          <a:bodyPr/>
          <a:lstStyle/>
          <a:p>
            <a:pPr marL="457200" indent="-457200">
              <a:buFont typeface="Arial" panose="020B0604020202020204" pitchFamily="34" charset="0"/>
              <a:buChar char="•"/>
            </a:pPr>
            <a:r>
              <a:rPr lang="en-US" dirty="0"/>
              <a:t>Overview about the DSC Basics</a:t>
            </a:r>
          </a:p>
          <a:p>
            <a:pPr marL="457200" indent="-457200">
              <a:buFont typeface="Arial" panose="020B0604020202020204" pitchFamily="34" charset="0"/>
              <a:buChar char="•"/>
            </a:pPr>
            <a:r>
              <a:rPr lang="en-US" dirty="0"/>
              <a:t>Describing the change</a:t>
            </a:r>
          </a:p>
          <a:p>
            <a:pPr marL="685800" lvl="1" indent="-457200">
              <a:buFont typeface="Arial" panose="020B0604020202020204" pitchFamily="34" charset="0"/>
              <a:buChar char="•"/>
            </a:pPr>
            <a:r>
              <a:rPr lang="en-US" dirty="0"/>
              <a:t>The configuration data conundrum</a:t>
            </a:r>
          </a:p>
          <a:p>
            <a:pPr marL="685800" lvl="1" indent="-457200">
              <a:buFont typeface="Arial" panose="020B0604020202020204" pitchFamily="34" charset="0"/>
              <a:buChar char="•"/>
            </a:pPr>
            <a:r>
              <a:rPr lang="en-US" dirty="0"/>
              <a:t>Generating configurations on scale</a:t>
            </a:r>
          </a:p>
          <a:p>
            <a:pPr marL="457200" indent="-457200">
              <a:buFont typeface="Arial" panose="020B0604020202020204" pitchFamily="34" charset="0"/>
              <a:buChar char="•"/>
            </a:pPr>
            <a:r>
              <a:rPr lang="en-US" dirty="0"/>
              <a:t>Delivering the change</a:t>
            </a:r>
          </a:p>
          <a:p>
            <a:pPr marL="685800" lvl="1" indent="-457200">
              <a:buFont typeface="Arial" panose="020B0604020202020204" pitchFamily="34" charset="0"/>
              <a:buChar char="•"/>
            </a:pPr>
            <a:r>
              <a:rPr lang="en-US" dirty="0"/>
              <a:t>CI/CD Infrastructure Release Pipeline</a:t>
            </a:r>
          </a:p>
        </p:txBody>
      </p:sp>
    </p:spTree>
    <p:extLst>
      <p:ext uri="{BB962C8B-B14F-4D97-AF65-F5344CB8AC3E}">
        <p14:creationId xmlns:p14="http://schemas.microsoft.com/office/powerpoint/2010/main" val="385073948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D1F24-0E42-4CEB-8F7B-D9267C83299F}"/>
              </a:ext>
            </a:extLst>
          </p:cNvPr>
          <p:cNvSpPr>
            <a:spLocks noGrp="1"/>
          </p:cNvSpPr>
          <p:nvPr>
            <p:ph type="title"/>
          </p:nvPr>
        </p:nvSpPr>
        <p:spPr>
          <a:xfrm>
            <a:off x="585216" y="3035808"/>
            <a:ext cx="9141397" cy="498598"/>
          </a:xfrm>
        </p:spPr>
        <p:txBody>
          <a:bodyPr/>
          <a:lstStyle/>
          <a:p>
            <a:r>
              <a:rPr lang="en-US" dirty="0"/>
              <a:t>Overview about the DSC Basics</a:t>
            </a:r>
          </a:p>
        </p:txBody>
      </p:sp>
    </p:spTree>
    <p:extLst>
      <p:ext uri="{BB962C8B-B14F-4D97-AF65-F5344CB8AC3E}">
        <p14:creationId xmlns:p14="http://schemas.microsoft.com/office/powerpoint/2010/main" val="225924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DB570-38DB-49D3-9D3D-DD0CB0BAE18B}"/>
              </a:ext>
            </a:extLst>
          </p:cNvPr>
          <p:cNvSpPr>
            <a:spLocks noGrp="1"/>
          </p:cNvSpPr>
          <p:nvPr>
            <p:ph type="title"/>
          </p:nvPr>
        </p:nvSpPr>
        <p:spPr>
          <a:xfrm>
            <a:off x="588263" y="457200"/>
            <a:ext cx="11018520" cy="553998"/>
          </a:xfrm>
        </p:spPr>
        <p:txBody>
          <a:bodyPr/>
          <a:lstStyle/>
          <a:p>
            <a:pPr fontAlgn="base"/>
            <a:r>
              <a:rPr lang="en-US" dirty="0"/>
              <a:t>What is DSC?</a:t>
            </a:r>
          </a:p>
        </p:txBody>
      </p:sp>
      <p:sp>
        <p:nvSpPr>
          <p:cNvPr id="3" name="Text Placeholder 2">
            <a:extLst>
              <a:ext uri="{FF2B5EF4-FFF2-40B4-BE49-F238E27FC236}">
                <a16:creationId xmlns:a16="http://schemas.microsoft.com/office/drawing/2014/main" id="{104957BD-A3C5-4968-A58A-C82B2EB6B539}"/>
              </a:ext>
            </a:extLst>
          </p:cNvPr>
          <p:cNvSpPr>
            <a:spLocks noGrp="1"/>
          </p:cNvSpPr>
          <p:nvPr>
            <p:ph type="body" sz="quarter" idx="10"/>
          </p:nvPr>
        </p:nvSpPr>
        <p:spPr>
          <a:xfrm>
            <a:off x="586390" y="1434370"/>
            <a:ext cx="11018520" cy="5084469"/>
          </a:xfrm>
        </p:spPr>
        <p:txBody>
          <a:bodyPr/>
          <a:lstStyle/>
          <a:p>
            <a:pPr fontAlgn="base"/>
            <a:r>
              <a:rPr lang="en-US" b="0" i="0" dirty="0">
                <a:solidFill>
                  <a:srgbClr val="6C6C6C"/>
                </a:solidFill>
                <a:effectLst/>
                <a:latin typeface="Arial" panose="020B0604020202020204" pitchFamily="34" charset="0"/>
              </a:rPr>
              <a:t>From techtarget.com: </a:t>
            </a:r>
            <a:r>
              <a:rPr lang="en-US" b="0" i="0" dirty="0">
                <a:solidFill>
                  <a:srgbClr val="6C6C6C"/>
                </a:solidFill>
                <a:effectLst/>
                <a:latin typeface="Arial" panose="020B0604020202020204" pitchFamily="34" charset="0"/>
                <a:hlinkClick r:id="rId3"/>
              </a:rPr>
              <a:t>Microsoft Windows PowerShell DSC (Desired State Configuration)</a:t>
            </a:r>
            <a:endParaRPr lang="en-US" b="0" i="0" dirty="0">
              <a:solidFill>
                <a:srgbClr val="6C6C6C"/>
              </a:solidFill>
              <a:effectLst/>
              <a:latin typeface="Arial" panose="020B0604020202020204" pitchFamily="34" charset="0"/>
            </a:endParaRPr>
          </a:p>
          <a:p>
            <a:pPr marL="457200" indent="-457200" fontAlgn="base">
              <a:buFont typeface="Arial" panose="020B0604020202020204" pitchFamily="34" charset="0"/>
              <a:buChar char="•"/>
            </a:pPr>
            <a:endParaRPr lang="en-US" b="0" i="0" dirty="0">
              <a:solidFill>
                <a:srgbClr val="6C6C6C"/>
              </a:solidFill>
              <a:effectLst/>
              <a:latin typeface="Arial" panose="020B0604020202020204" pitchFamily="34" charset="0"/>
            </a:endParaRPr>
          </a:p>
          <a:p>
            <a:pPr fontAlgn="base"/>
            <a:r>
              <a:rPr lang="en-US" b="0" i="0" dirty="0">
                <a:solidFill>
                  <a:srgbClr val="6C6C6C"/>
                </a:solidFill>
                <a:effectLst/>
                <a:latin typeface="Arial" panose="020B0604020202020204" pitchFamily="34" charset="0"/>
              </a:rPr>
              <a:t>“Desired State Configuration (DSC) is a feature in </a:t>
            </a:r>
            <a:r>
              <a:rPr lang="en-US" b="0" i="0" u="sng" dirty="0">
                <a:solidFill>
                  <a:srgbClr val="007CAD"/>
                </a:solidFill>
                <a:effectLst/>
                <a:latin typeface="Arial" panose="020B0604020202020204" pitchFamily="34" charset="0"/>
                <a:hlinkClick r:id="rId4"/>
              </a:rPr>
              <a:t>PowerShell</a:t>
            </a:r>
            <a:r>
              <a:rPr lang="en-US" b="0" i="0" dirty="0">
                <a:solidFill>
                  <a:srgbClr val="6C6C6C"/>
                </a:solidFill>
                <a:effectLst/>
                <a:latin typeface="Arial" panose="020B0604020202020204" pitchFamily="34" charset="0"/>
              </a:rPr>
              <a:t> 4.0 and above that helps administrators to automate the configuration of Windows and Linux operating systems (</a:t>
            </a:r>
            <a:r>
              <a:rPr lang="en-US" b="0" i="0" u="sng" dirty="0">
                <a:solidFill>
                  <a:srgbClr val="007CAD"/>
                </a:solidFill>
                <a:effectLst/>
                <a:latin typeface="Arial" panose="020B0604020202020204" pitchFamily="34" charset="0"/>
                <a:hlinkClick r:id="rId5"/>
              </a:rPr>
              <a:t>OSes</a:t>
            </a:r>
            <a:r>
              <a:rPr lang="en-US" b="0" i="0" dirty="0">
                <a:solidFill>
                  <a:srgbClr val="6C6C6C"/>
                </a:solidFill>
                <a:effectLst/>
                <a:latin typeface="Arial" panose="020B0604020202020204" pitchFamily="34" charset="0"/>
              </a:rPr>
              <a:t>)”</a:t>
            </a:r>
          </a:p>
          <a:p>
            <a:pPr fontAlgn="base"/>
            <a:endParaRPr lang="en-US" dirty="0">
              <a:solidFill>
                <a:srgbClr val="6C6C6C"/>
              </a:solidFill>
              <a:latin typeface="Arial" panose="020B0604020202020204" pitchFamily="34" charset="0"/>
            </a:endParaRPr>
          </a:p>
          <a:p>
            <a:pPr fontAlgn="base"/>
            <a:r>
              <a:rPr lang="en-US" b="0" i="0" dirty="0">
                <a:solidFill>
                  <a:srgbClr val="6C6C6C"/>
                </a:solidFill>
                <a:effectLst/>
                <a:latin typeface="Arial" panose="020B0604020202020204" pitchFamily="34" charset="0"/>
              </a:rPr>
              <a:t>“</a:t>
            </a:r>
            <a:r>
              <a:rPr lang="en-US" b="0" i="0" dirty="0">
                <a:solidFill>
                  <a:srgbClr val="6C6C6C"/>
                </a:solidFill>
                <a:effectLst/>
                <a:highlight>
                  <a:srgbClr val="FFFF00"/>
                </a:highlight>
                <a:latin typeface="Arial" panose="020B0604020202020204" pitchFamily="34" charset="0"/>
              </a:rPr>
              <a:t>When used correctly</a:t>
            </a:r>
            <a:r>
              <a:rPr lang="en-US" b="0" i="0" dirty="0">
                <a:solidFill>
                  <a:srgbClr val="6C6C6C"/>
                </a:solidFill>
                <a:effectLst/>
                <a:latin typeface="Arial" panose="020B0604020202020204" pitchFamily="34" charset="0"/>
              </a:rPr>
              <a:t>, DSC can help an organization avoid </a:t>
            </a:r>
            <a:r>
              <a:rPr lang="en-US" b="0" i="0" u="sng" dirty="0">
                <a:solidFill>
                  <a:srgbClr val="007CAD"/>
                </a:solidFill>
                <a:effectLst/>
                <a:latin typeface="Arial" panose="020B0604020202020204" pitchFamily="34" charset="0"/>
                <a:hlinkClick r:id="rId6"/>
              </a:rPr>
              <a:t>configuration drift</a:t>
            </a:r>
            <a:r>
              <a:rPr lang="en-US" b="0" i="0" dirty="0">
                <a:solidFill>
                  <a:srgbClr val="6C6C6C"/>
                </a:solidFill>
                <a:effectLst/>
                <a:latin typeface="Arial" panose="020B0604020202020204" pitchFamily="34" charset="0"/>
              </a:rPr>
              <a:t>, which can occur if an application on one machine modifies a default setting to make its configuration different from its sister machines”</a:t>
            </a:r>
            <a:endParaRPr lang="en-US" dirty="0"/>
          </a:p>
        </p:txBody>
      </p:sp>
    </p:spTree>
    <p:extLst>
      <p:ext uri="{BB962C8B-B14F-4D97-AF65-F5344CB8AC3E}">
        <p14:creationId xmlns:p14="http://schemas.microsoft.com/office/powerpoint/2010/main" val="35671119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38BBB-4601-49C6-971F-F4FF7A667122}"/>
              </a:ext>
            </a:extLst>
          </p:cNvPr>
          <p:cNvSpPr>
            <a:spLocks noGrp="1"/>
          </p:cNvSpPr>
          <p:nvPr>
            <p:ph type="title"/>
          </p:nvPr>
        </p:nvSpPr>
        <p:spPr/>
        <p:txBody>
          <a:bodyPr/>
          <a:lstStyle/>
          <a:p>
            <a:r>
              <a:rPr lang="en-US" dirty="0"/>
              <a:t>Components of DSC</a:t>
            </a:r>
          </a:p>
        </p:txBody>
      </p:sp>
      <p:sp>
        <p:nvSpPr>
          <p:cNvPr id="3" name="Text Placeholder 2">
            <a:extLst>
              <a:ext uri="{FF2B5EF4-FFF2-40B4-BE49-F238E27FC236}">
                <a16:creationId xmlns:a16="http://schemas.microsoft.com/office/drawing/2014/main" id="{F77CB6CD-E0D1-4266-9A84-04C7B8EB3FC7}"/>
              </a:ext>
            </a:extLst>
          </p:cNvPr>
          <p:cNvSpPr>
            <a:spLocks noGrp="1"/>
          </p:cNvSpPr>
          <p:nvPr>
            <p:ph type="body" sz="quarter" idx="10"/>
          </p:nvPr>
        </p:nvSpPr>
        <p:spPr>
          <a:xfrm>
            <a:off x="586390" y="1434370"/>
            <a:ext cx="4900010" cy="3681008"/>
          </a:xfrm>
        </p:spPr>
        <p:txBody>
          <a:bodyPr/>
          <a:lstStyle/>
          <a:p>
            <a:r>
              <a:rPr lang="en-US" dirty="0"/>
              <a:t>Configuration</a:t>
            </a:r>
          </a:p>
          <a:p>
            <a:pPr lvl="1"/>
            <a:r>
              <a:rPr lang="en-US" dirty="0"/>
              <a:t>Container for configuration items</a:t>
            </a:r>
          </a:p>
          <a:p>
            <a:pPr lvl="1"/>
            <a:endParaRPr lang="en-US" dirty="0"/>
          </a:p>
          <a:p>
            <a:r>
              <a:rPr lang="en-US" dirty="0"/>
              <a:t>Node</a:t>
            </a:r>
          </a:p>
          <a:p>
            <a:pPr lvl="1"/>
            <a:r>
              <a:rPr lang="en-US" dirty="0"/>
              <a:t>Optional component in a configuration</a:t>
            </a:r>
          </a:p>
          <a:p>
            <a:pPr lvl="1"/>
            <a:r>
              <a:rPr lang="en-US" dirty="0"/>
              <a:t>Contains node-specific items</a:t>
            </a:r>
          </a:p>
          <a:p>
            <a:pPr lvl="1"/>
            <a:endParaRPr lang="en-US" dirty="0"/>
          </a:p>
          <a:p>
            <a:r>
              <a:rPr lang="en-US" dirty="0"/>
              <a:t>Resource</a:t>
            </a:r>
          </a:p>
          <a:p>
            <a:pPr lvl="1"/>
            <a:r>
              <a:rPr lang="en-US" dirty="0"/>
              <a:t>The configuration item</a:t>
            </a:r>
          </a:p>
        </p:txBody>
      </p:sp>
      <p:sp>
        <p:nvSpPr>
          <p:cNvPr id="4" name="TextBox 3">
            <a:extLst>
              <a:ext uri="{FF2B5EF4-FFF2-40B4-BE49-F238E27FC236}">
                <a16:creationId xmlns:a16="http://schemas.microsoft.com/office/drawing/2014/main" id="{8AAD45A7-D023-408A-BF7F-AEBD070928A4}"/>
              </a:ext>
            </a:extLst>
          </p:cNvPr>
          <p:cNvSpPr txBox="1"/>
          <p:nvPr/>
        </p:nvSpPr>
        <p:spPr>
          <a:xfrm>
            <a:off x="5598695" y="1434370"/>
            <a:ext cx="6176210" cy="4924425"/>
          </a:xfrm>
          <a:prstGeom prst="rect">
            <a:avLst/>
          </a:prstGeom>
          <a:noFill/>
        </p:spPr>
        <p:txBody>
          <a:bodyPr wrap="square" lIns="0" tIns="0" rIns="0" bIns="0" rtlCol="0">
            <a:spAutoFit/>
          </a:bodyPr>
          <a:lstStyle/>
          <a:p>
            <a:r>
              <a:rPr lang="en-US" sz="2000" dirty="0"/>
              <a:t> </a:t>
            </a:r>
            <a:r>
              <a:rPr lang="en-US" sz="2000" dirty="0">
                <a:solidFill>
                  <a:srgbClr val="00008B"/>
                </a:solidFill>
                <a:latin typeface="Lucida Console" panose="020B0609040504020204" pitchFamily="49" charset="0"/>
              </a:rPr>
              <a:t>configuration</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conf</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a:t>
            </a:r>
          </a:p>
          <a:p>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node</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localhost</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a:t>
            </a:r>
          </a:p>
          <a:p>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File</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foo</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a:t>
            </a:r>
          </a:p>
          <a:p>
            <a:r>
              <a:rPr lang="en-US" sz="2000" dirty="0">
                <a:solidFill>
                  <a:prstClr val="black"/>
                </a:solidFill>
                <a:latin typeface="Lucida Console" panose="020B0609040504020204" pitchFamily="49" charset="0"/>
              </a:rPr>
              <a:t>            </a:t>
            </a:r>
            <a:r>
              <a:rPr lang="en-US" sz="2000" dirty="0" err="1">
                <a:solidFill>
                  <a:prstClr val="black"/>
                </a:solidFill>
                <a:latin typeface="Lucida Console" panose="020B0609040504020204" pitchFamily="49" charset="0"/>
              </a:rPr>
              <a:t>DestinationPath</a:t>
            </a:r>
            <a:r>
              <a:rPr lang="en-US" sz="2000" dirty="0">
                <a:solidFill>
                  <a:prstClr val="black"/>
                </a:solidFill>
                <a:latin typeface="Lucida Console" panose="020B0609040504020204" pitchFamily="49" charset="0"/>
              </a:rPr>
              <a:t>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C:\foo'</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Contents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bar'</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Type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File'</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Ensure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Present'</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a:t>
            </a:r>
          </a:p>
          <a:p>
            <a:r>
              <a:rPr lang="en-US" sz="2000" dirty="0">
                <a:solidFill>
                  <a:prstClr val="black"/>
                </a:solidFill>
                <a:latin typeface="Lucida Console" panose="020B0609040504020204" pitchFamily="49" charset="0"/>
              </a:rPr>
              <a:t>    }</a:t>
            </a:r>
          </a:p>
          <a:p>
            <a:r>
              <a:rPr lang="en-US" sz="2000" dirty="0">
                <a:solidFill>
                  <a:prstClr val="black"/>
                </a:solidFill>
                <a:latin typeface="Lucida Console" panose="020B0609040504020204" pitchFamily="49" charset="0"/>
              </a:rPr>
              <a:t>} </a:t>
            </a:r>
          </a:p>
          <a:p>
            <a:pPr algn="l"/>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88787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7" end="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
                                            <p:txEl>
                                              <p:pRg st="8" end="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
                                            <p:txEl>
                                              <p:pRg st="9" end="9"/>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xEl>
                                              <p:pRg st="10" end="1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
                                            <p:txEl>
                                              <p:pRg st="11" end="11"/>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erative vs. Declarative Language</a:t>
            </a:r>
          </a:p>
        </p:txBody>
      </p:sp>
      <p:sp>
        <p:nvSpPr>
          <p:cNvPr id="5" name="Text Placeholder 2">
            <a:extLst>
              <a:ext uri="{FF2B5EF4-FFF2-40B4-BE49-F238E27FC236}">
                <a16:creationId xmlns:a16="http://schemas.microsoft.com/office/drawing/2014/main" id="{BB319379-33A8-45F5-AF23-15B2A8F7045A}"/>
              </a:ext>
            </a:extLst>
          </p:cNvPr>
          <p:cNvSpPr txBox="1">
            <a:spLocks/>
          </p:cNvSpPr>
          <p:nvPr/>
        </p:nvSpPr>
        <p:spPr>
          <a:xfrm>
            <a:off x="588263" y="1111045"/>
            <a:ext cx="11176000" cy="4635910"/>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b="1" dirty="0">
                <a:solidFill>
                  <a:srgbClr val="000000"/>
                </a:solidFill>
                <a:latin typeface="Segoe UI Light" panose="020B0502040204020203" pitchFamily="34" charset="0"/>
                <a:cs typeface="Segoe UI Light" panose="020B0502040204020203" pitchFamily="34" charset="0"/>
              </a:rPr>
              <a:t>Imperative (</a:t>
            </a:r>
            <a:r>
              <a:rPr lang="en-US" b="1" dirty="0" err="1">
                <a:solidFill>
                  <a:srgbClr val="000000"/>
                </a:solidFill>
                <a:latin typeface="Segoe UI Light" panose="020B0502040204020203" pitchFamily="34" charset="0"/>
                <a:cs typeface="Segoe UI Light" panose="020B0502040204020203" pitchFamily="34" charset="0"/>
              </a:rPr>
              <a:t>Powershell</a:t>
            </a:r>
            <a:r>
              <a:rPr lang="en-US" b="1" dirty="0">
                <a:solidFill>
                  <a:srgbClr val="000000"/>
                </a:solidFill>
                <a:latin typeface="Segoe UI Light" panose="020B0502040204020203" pitchFamily="34" charset="0"/>
                <a:cs typeface="Segoe UI Light" panose="020B0502040204020203" pitchFamily="34" charset="0"/>
              </a:rPr>
              <a:t>)</a:t>
            </a:r>
          </a:p>
          <a:p>
            <a:endParaRPr lang="en-US" b="1" dirty="0">
              <a:solidFill>
                <a:srgbClr val="000000"/>
              </a:solidFill>
              <a:latin typeface="Segoe UI Light" panose="020B0502040204020203" pitchFamily="34" charset="0"/>
              <a:cs typeface="Segoe UI Light" panose="020B0502040204020203" pitchFamily="34" charset="0"/>
            </a:endParaRPr>
          </a:p>
          <a:p>
            <a:endParaRPr lang="en-US" b="1" dirty="0">
              <a:solidFill>
                <a:srgbClr val="000000"/>
              </a:solidFill>
              <a:latin typeface="Segoe UI Light" panose="020B0502040204020203" pitchFamily="34" charset="0"/>
              <a:cs typeface="Segoe UI Light" panose="020B0502040204020203" pitchFamily="34" charset="0"/>
            </a:endParaRPr>
          </a:p>
          <a:p>
            <a:pPr marL="0" indent="0">
              <a:buNone/>
            </a:pPr>
            <a:r>
              <a:rPr lang="en-US" b="1" dirty="0">
                <a:solidFill>
                  <a:srgbClr val="000000"/>
                </a:solidFill>
                <a:latin typeface="Segoe UI Light" panose="020B0502040204020203" pitchFamily="34" charset="0"/>
                <a:cs typeface="Segoe UI Light" panose="020B0502040204020203" pitchFamily="34" charset="0"/>
              </a:rPr>
              <a:t>Declarative (DSC)</a:t>
            </a:r>
          </a:p>
          <a:p>
            <a:endParaRPr lang="en-US" b="1" dirty="0">
              <a:solidFill>
                <a:srgbClr val="000000"/>
              </a:solidFill>
              <a:latin typeface="Segoe UI Light" panose="020B0502040204020203" pitchFamily="34" charset="0"/>
              <a:cs typeface="Segoe UI Light" panose="020B0502040204020203" pitchFamily="34" charset="0"/>
            </a:endParaRPr>
          </a:p>
        </p:txBody>
      </p:sp>
      <p:sp>
        <p:nvSpPr>
          <p:cNvPr id="8" name="Rectangle 7">
            <a:extLst>
              <a:ext uri="{FF2B5EF4-FFF2-40B4-BE49-F238E27FC236}">
                <a16:creationId xmlns:a16="http://schemas.microsoft.com/office/drawing/2014/main" id="{8A3C3CA4-AFF3-4C16-BD1E-E254CD585150}"/>
              </a:ext>
            </a:extLst>
          </p:cNvPr>
          <p:cNvSpPr/>
          <p:nvPr/>
        </p:nvSpPr>
        <p:spPr>
          <a:xfrm>
            <a:off x="754161" y="1603254"/>
            <a:ext cx="9505340" cy="461665"/>
          </a:xfrm>
          <a:prstGeom prst="rect">
            <a:avLst/>
          </a:prstGeom>
        </p:spPr>
        <p:txBody>
          <a:bodyPr wrap="square">
            <a:spAutoFit/>
          </a:bodyPr>
          <a:lstStyle/>
          <a:p>
            <a:r>
              <a:rPr lang="en-US" sz="2400" dirty="0">
                <a:solidFill>
                  <a:srgbClr val="0000FF"/>
                </a:solidFill>
                <a:latin typeface="Lucida Console" panose="020B0609040504020204" pitchFamily="49" charset="0"/>
              </a:rPr>
              <a:t>Add-</a:t>
            </a:r>
            <a:r>
              <a:rPr lang="en-US" sz="2400" dirty="0" err="1">
                <a:solidFill>
                  <a:srgbClr val="0000FF"/>
                </a:solidFill>
                <a:latin typeface="Lucida Console" panose="020B0609040504020204" pitchFamily="49" charset="0"/>
              </a:rPr>
              <a:t>WindowsFeature</a:t>
            </a:r>
            <a:r>
              <a:rPr lang="en-US" sz="2400" dirty="0">
                <a:solidFill>
                  <a:prstClr val="black"/>
                </a:solidFill>
                <a:latin typeface="Lucida Console" panose="020B0609040504020204" pitchFamily="49" charset="0"/>
              </a:rPr>
              <a:t> </a:t>
            </a:r>
            <a:r>
              <a:rPr lang="en-US" sz="2400" dirty="0">
                <a:solidFill>
                  <a:srgbClr val="8A2BE2"/>
                </a:solidFill>
                <a:latin typeface="Lucida Console" panose="020B0609040504020204" pitchFamily="49" charset="0"/>
              </a:rPr>
              <a:t>Windows-Server-Backup</a:t>
            </a:r>
          </a:p>
        </p:txBody>
      </p:sp>
      <p:sp>
        <p:nvSpPr>
          <p:cNvPr id="3" name="Rectangle 2">
            <a:extLst>
              <a:ext uri="{FF2B5EF4-FFF2-40B4-BE49-F238E27FC236}">
                <a16:creationId xmlns:a16="http://schemas.microsoft.com/office/drawing/2014/main" id="{DE0BDC3C-68E8-4258-94F6-8D2BDA835099}"/>
              </a:ext>
            </a:extLst>
          </p:cNvPr>
          <p:cNvSpPr/>
          <p:nvPr/>
        </p:nvSpPr>
        <p:spPr>
          <a:xfrm>
            <a:off x="754161" y="3026242"/>
            <a:ext cx="8251727" cy="3046988"/>
          </a:xfrm>
          <a:prstGeom prst="rect">
            <a:avLst/>
          </a:prstGeom>
        </p:spPr>
        <p:txBody>
          <a:bodyPr wrap="square">
            <a:spAutoFit/>
          </a:bodyPr>
          <a:lstStyle/>
          <a:p>
            <a:r>
              <a:rPr lang="en-US" sz="2400" dirty="0">
                <a:solidFill>
                  <a:srgbClr val="00008B"/>
                </a:solidFill>
                <a:latin typeface="Lucida Console" panose="020B0609040504020204" pitchFamily="49" charset="0"/>
              </a:rPr>
              <a:t>Configuration</a:t>
            </a:r>
            <a:r>
              <a:rPr lang="en-US" sz="2400" dirty="0">
                <a:solidFill>
                  <a:prstClr val="black"/>
                </a:solidFill>
                <a:latin typeface="Lucida Console" panose="020B0609040504020204" pitchFamily="49" charset="0"/>
              </a:rPr>
              <a:t> </a:t>
            </a:r>
            <a:r>
              <a:rPr lang="en-US" sz="2400" dirty="0" err="1">
                <a:solidFill>
                  <a:srgbClr val="8A2BE2"/>
                </a:solidFill>
                <a:latin typeface="Lucida Console" panose="020B0609040504020204" pitchFamily="49" charset="0"/>
              </a:rPr>
              <a:t>BaseBuild</a:t>
            </a:r>
            <a:endParaRPr lang="en-US" sz="2400" dirty="0">
              <a:solidFill>
                <a:srgbClr val="8A2BE2"/>
              </a:solidFill>
              <a:latin typeface="Lucida Console" panose="020B0609040504020204" pitchFamily="49" charset="0"/>
            </a:endParaRPr>
          </a:p>
          <a:p>
            <a:r>
              <a:rPr lang="en-US" sz="2400" dirty="0">
                <a:solidFill>
                  <a:prstClr val="black"/>
                </a:solidFill>
                <a:latin typeface="Lucida Console" panose="020B0609040504020204" pitchFamily="49" charset="0"/>
              </a:rPr>
              <a:t>{</a:t>
            </a:r>
          </a:p>
          <a:p>
            <a:r>
              <a:rPr lang="en-US" sz="2400" dirty="0">
                <a:solidFill>
                  <a:prstClr val="black"/>
                </a:solidFill>
                <a:latin typeface="Lucida Console" panose="020B0609040504020204" pitchFamily="49" charset="0"/>
              </a:rPr>
              <a:t>	</a:t>
            </a:r>
            <a:r>
              <a:rPr lang="en-US" sz="2400" dirty="0" err="1">
                <a:solidFill>
                  <a:prstClr val="black"/>
                </a:solidFill>
                <a:latin typeface="Lucida Console" panose="020B0609040504020204" pitchFamily="49" charset="0"/>
              </a:rPr>
              <a:t>WindowsFeature</a:t>
            </a:r>
            <a:r>
              <a:rPr lang="en-US" sz="2400" dirty="0">
                <a:solidFill>
                  <a:prstClr val="black"/>
                </a:solidFill>
                <a:latin typeface="Lucida Console" panose="020B0609040504020204" pitchFamily="49" charset="0"/>
              </a:rPr>
              <a:t> </a:t>
            </a:r>
            <a:r>
              <a:rPr lang="en-US" sz="2400" dirty="0">
                <a:solidFill>
                  <a:srgbClr val="8A2BE2"/>
                </a:solidFill>
                <a:latin typeface="Lucida Console" panose="020B0609040504020204" pitchFamily="49" charset="0"/>
              </a:rPr>
              <a:t>Backup</a:t>
            </a:r>
          </a:p>
          <a:p>
            <a:r>
              <a:rPr lang="en-US" sz="2400" dirty="0">
                <a:solidFill>
                  <a:srgbClr val="8A2BE2"/>
                </a:solidFill>
                <a:latin typeface="Lucida Console" panose="020B0609040504020204" pitchFamily="49" charset="0"/>
              </a:rPr>
              <a:t>  	</a:t>
            </a:r>
            <a:r>
              <a:rPr lang="en-US" sz="2400" dirty="0">
                <a:solidFill>
                  <a:prstClr val="black"/>
                </a:solidFill>
                <a:latin typeface="Lucida Console" panose="020B0609040504020204" pitchFamily="49" charset="0"/>
              </a:rPr>
              <a:t>{</a:t>
            </a:r>
          </a:p>
          <a:p>
            <a:r>
              <a:rPr lang="en-US" sz="2400" dirty="0">
                <a:solidFill>
                  <a:prstClr val="black"/>
                </a:solidFill>
                <a:latin typeface="Lucida Console" panose="020B0609040504020204" pitchFamily="49" charset="0"/>
              </a:rPr>
              <a:t>		Ensure </a:t>
            </a:r>
            <a:r>
              <a:rPr lang="en-US" sz="2400" dirty="0">
                <a:solidFill>
                  <a:srgbClr val="A9A9A9"/>
                </a:solidFill>
                <a:latin typeface="Lucida Console" panose="020B0609040504020204" pitchFamily="49" charset="0"/>
              </a:rPr>
              <a:t>=</a:t>
            </a:r>
            <a:r>
              <a:rPr lang="en-US" sz="2400" dirty="0">
                <a:solidFill>
                  <a:prstClr val="black"/>
                </a:solidFill>
                <a:latin typeface="Lucida Console" panose="020B0609040504020204" pitchFamily="49" charset="0"/>
              </a:rPr>
              <a:t> </a:t>
            </a:r>
            <a:r>
              <a:rPr lang="en-US" sz="2400" dirty="0">
                <a:solidFill>
                  <a:srgbClr val="8B0000"/>
                </a:solidFill>
                <a:latin typeface="Lucida Console" panose="020B0609040504020204" pitchFamily="49" charset="0"/>
              </a:rPr>
              <a:t>'Present'</a:t>
            </a:r>
            <a:endParaRPr lang="en-US" sz="2400" dirty="0">
              <a:solidFill>
                <a:prstClr val="black"/>
              </a:solidFill>
              <a:latin typeface="Lucida Console" panose="020B0609040504020204" pitchFamily="49" charset="0"/>
            </a:endParaRPr>
          </a:p>
          <a:p>
            <a:r>
              <a:rPr lang="en-US" sz="2400" dirty="0">
                <a:solidFill>
                  <a:prstClr val="black"/>
                </a:solidFill>
                <a:latin typeface="Lucida Console" panose="020B0609040504020204" pitchFamily="49" charset="0"/>
              </a:rPr>
              <a:t>		Name   </a:t>
            </a:r>
            <a:r>
              <a:rPr lang="en-US" sz="2400" dirty="0">
                <a:solidFill>
                  <a:srgbClr val="A9A9A9"/>
                </a:solidFill>
                <a:latin typeface="Lucida Console" panose="020B0609040504020204" pitchFamily="49" charset="0"/>
              </a:rPr>
              <a:t>=</a:t>
            </a:r>
            <a:r>
              <a:rPr lang="en-US" sz="2400" dirty="0">
                <a:solidFill>
                  <a:prstClr val="black"/>
                </a:solidFill>
                <a:latin typeface="Lucida Console" panose="020B0609040504020204" pitchFamily="49" charset="0"/>
              </a:rPr>
              <a:t> </a:t>
            </a:r>
            <a:r>
              <a:rPr lang="en-US" sz="2400" dirty="0">
                <a:solidFill>
                  <a:srgbClr val="8B0000"/>
                </a:solidFill>
                <a:latin typeface="Lucida Console" panose="020B0609040504020204" pitchFamily="49" charset="0"/>
              </a:rPr>
              <a:t>'Windows-Server-Backup'</a:t>
            </a:r>
            <a:endParaRPr lang="en-US" sz="2400" dirty="0">
              <a:solidFill>
                <a:prstClr val="black"/>
              </a:solidFill>
              <a:latin typeface="Lucida Console" panose="020B0609040504020204" pitchFamily="49" charset="0"/>
            </a:endParaRPr>
          </a:p>
          <a:p>
            <a:r>
              <a:rPr lang="en-US" sz="2400" dirty="0">
                <a:solidFill>
                  <a:prstClr val="black"/>
                </a:solidFill>
                <a:latin typeface="Lucida Console" panose="020B0609040504020204" pitchFamily="49" charset="0"/>
              </a:rPr>
              <a:t>	}</a:t>
            </a:r>
          </a:p>
          <a:p>
            <a:r>
              <a:rPr lang="en-US" sz="2400" dirty="0">
                <a:solidFill>
                  <a:prstClr val="black"/>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3747360366"/>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f82b7ae-b700-4c1c-9dc2-101f0070c66a"/>
  <p:tag name="MIO_UPDATE" val="True"/>
  <p:tag name="MIO_VERSION" val="26.06.2020 14:21:57"/>
  <p:tag name="MIO_DBID" val="12b0c59e-2253-4124-a5e9-470adf4cb168"/>
  <p:tag name="MIO_LASTDOWNLOADED" val="21.08.2020 11:53:01"/>
  <p:tag name="MIO_OBJECTNAME" val="What is PowerShell? (2)"/>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f82b7ae-b700-4c1c-9dc2-101f0070c66a"/>
  <p:tag name="MIO_UPDATE" val="True"/>
  <p:tag name="MIO_VERSION" val="26.06.2020 14:21:57"/>
  <p:tag name="MIO_DBID" val="12b0c59e-2253-4124-a5e9-470adf4cb168"/>
  <p:tag name="MIO_LASTDOWNLOADED" val="21.08.2020 11:53:01"/>
  <p:tag name="MIO_OBJECTNAME" val="What is PowerShell? (2)"/>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f82b7ae-b700-4c1c-9dc2-101f0070c66a"/>
  <p:tag name="MIO_UPDATE" val="True"/>
  <p:tag name="MIO_VERSION" val="26.06.2020 14:21:57"/>
  <p:tag name="MIO_DBID" val="12b0c59e-2253-4124-a5e9-470adf4cb168"/>
  <p:tag name="MIO_LASTDOWNLOADED" val="21.08.2020 11:53:01"/>
  <p:tag name="MIO_OBJECTNAME" val="What is PowerShell? (2)"/>
  <p:tag name="MIO_LASTEDITORNAME" val="Devid Treuling"/>
</p:tagLst>
</file>

<file path=ppt/theme/theme1.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v04.potx" id="{ADFE0B3B-3E8D-4D1C-A966-C43B5E8793C8}" vid="{758F5799-09F9-4110-97F9-4D6AD89F1CB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a7f021d5-9a53-49d9-9cb5-051f3f7b4093" Revision="1" Stencil="System.MyShapes" StencilVersion="1.0"/>
</Control>
</file>

<file path=customXml/item10.xml><?xml version="1.0" encoding="utf-8"?>
<p:properties xmlns:p="http://schemas.microsoft.com/office/2006/metadata/properties" xmlns:xsi="http://www.w3.org/2001/XMLSchema-instance" xmlns:pc="http://schemas.microsoft.com/office/infopath/2007/PartnerControls">
  <documentManagement>
    <External_x0020_Speaker xmlns="5a4b3278-325d-441a-b38f-6f1926bc734e" xsi:nil="true"/>
    <j478fa01fff54a9d85f93cc1f742caa8 xmlns="5a4b3278-325d-441a-b38f-6f1926bc734e">
      <Terms xmlns="http://schemas.microsoft.com/office/infopath/2007/PartnerControls"/>
    </j478fa01fff54a9d85f93cc1f742caa8>
    <Event_x0020_End_x0020_Date xmlns="5a4b3278-325d-441a-b38f-6f1926bc734e">2018-07-20T00:00:00+00:00</Event_x0020_End_x0020_Date>
    <LikesCount xmlns="http://schemas.microsoft.com/sharepoint/v3" xsi:nil="true"/>
    <MS_x0020_Speaker xmlns="5a4b3278-325d-441a-b38f-6f1926bc734e">
      <UserInfo>
        <DisplayName/>
        <AccountId xsi:nil="true"/>
        <AccountType/>
      </UserInfo>
    </MS_x0020_Speaker>
    <o33121adfc264c7dbcad13be7db3ea4b xmlns="5a4b3278-325d-441a-b38f-6f1926bc734e">
      <Terms xmlns="http://schemas.microsoft.com/office/infopath/2007/PartnerControls">
        <TermInfo xmlns="http://schemas.microsoft.com/office/infopath/2007/PartnerControls">
          <TermName xmlns="http://schemas.microsoft.com/office/infopath/2007/PartnerControls">Microsoft Ready</TermName>
          <TermId xmlns="http://schemas.microsoft.com/office/infopath/2007/PartnerControls">3ca26e5f-dc1b-4496-bbb3-9dc6901a235f</TermId>
        </TermInfo>
      </Terms>
    </o33121adfc264c7dbcad13be7db3ea4b>
    <Session_x0020_Code xmlns="5a4b3278-325d-441a-b38f-6f1926bc734e" xsi:nil="true"/>
    <Presentation_x0020_Date xmlns="5a4b3278-325d-441a-b38f-6f1926bc734e" xsi:nil="true"/>
    <ba5aa7e3a41a404e868a451481761228 xmlns="5a4b3278-325d-441a-b38f-6f1926bc734e">
      <Terms xmlns="http://schemas.microsoft.com/office/infopath/2007/PartnerControls"/>
    </ba5aa7e3a41a404e868a451481761228>
    <n26c0b7259a14f82a9880173edc4cb73 xmlns="5a4b3278-325d-441a-b38f-6f1926bc734e">
      <Terms xmlns="http://schemas.microsoft.com/office/infopath/2007/PartnerControls"/>
    </n26c0b7259a14f82a9880173edc4cb73>
    <c4b02e5b2c48420dbed84c0f2f02e9a3 xmlns="5a4b3278-325d-441a-b38f-6f1926bc734e">
      <Terms xmlns="http://schemas.microsoft.com/office/infopath/2007/PartnerControls">
        <TermInfo xmlns="http://schemas.microsoft.com/office/infopath/2007/PartnerControls">
          <TermName xmlns="http://schemas.microsoft.com/office/infopath/2007/PartnerControls">Las Vegas</TermName>
          <TermId xmlns="http://schemas.microsoft.com/office/infopath/2007/PartnerControls">e731b1e0-234c-4781-a780-e65aa36c0b98</TermId>
        </TermInfo>
      </Terms>
    </c4b02e5b2c48420dbed84c0f2f02e9a3>
    <Event_x0020_Start_x0020_Date xmlns="5a4b3278-325d-441a-b38f-6f1926bc734e">2018-07-18T00:00:00+00:00</Event_x0020_Start_x0020_Date>
    <MS_x0020_Content_x0020_Owner xmlns="5a4b3278-325d-441a-b38f-6f1926bc734e">
      <UserInfo>
        <DisplayName/>
        <AccountId xsi:nil="true"/>
        <AccountType/>
      </UserInfo>
    </MS_x0020_Content_x0020_Own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Ready</TermName>
          <TermId xmlns="http://schemas.microsoft.com/office/infopath/2007/PartnerControls">3ca26e5f-dc1b-4496-bbb3-9dc6901a235f</TermId>
        </TermInfo>
      </Terms>
    </TaxKeywordTaxHTField>
    <j129f3114929433a812312450a84994c xmlns="5a4b3278-325d-441a-b38f-6f1926bc734e">
      <Terms xmlns="http://schemas.microsoft.com/office/infopath/2007/PartnerControls"/>
    </j129f3114929433a812312450a84994c>
    <TaxCatchAll xmlns="230e9df3-be65-4c73-a93b-d1236ebd677e">
      <Value>62</Value>
      <Value>16</Value>
      <Value>21</Value>
    </TaxCatchAll>
    <e1750f71052543bd8c4d7217e9f56da0 xmlns="5a4b3278-325d-441a-b38f-6f1926bc734e">
      <Terms xmlns="http://schemas.microsoft.com/office/infopath/2007/PartnerControls"/>
    </e1750f71052543bd8c4d7217e9f56da0>
  </documentManagement>
</p:properties>
</file>

<file path=customXml/item11.xml><?xml version="1.0" encoding="utf-8"?>
<Control xmlns="http://schemas.microsoft.com/VisualStudio/2011/storyboarding/control">
  <Id Name="d34bb8d4-dd32-4183-a6bb-b94a32a007d6" Revision="1" Stencil="System.MyShapes" StencilVersion="1.0"/>
</Control>
</file>

<file path=customXml/item12.xml><?xml version="1.0" encoding="utf-8"?>
<Control xmlns="http://schemas.microsoft.com/VisualStudio/2011/storyboarding/control">
  <Id Name="07373205-a408-4b13-8dcd-eac5c94314f6" Revision="1" Stencil="System.MyShapes" StencilVersion="1.0"/>
</Control>
</file>

<file path=customXml/item13.xml><?xml version="1.0" encoding="utf-8"?>
<Control xmlns="http://schemas.microsoft.com/VisualStudio/2011/storyboarding/control">
  <Id Name="b7e4b451-5788-49e7-bdfb-7280bf392eed" Revision="1" Stencil="System.MyShapes" StencilVersion="1.0"/>
</Control>
</file>

<file path=customXml/item14.xml><?xml version="1.0" encoding="utf-8"?>
<Control xmlns="http://schemas.microsoft.com/VisualStudio/2011/storyboarding/control">
  <Id Name="b7e4b451-5788-49e7-bdfb-7280bf392eed" Revision="1" Stencil="System.MyShapes" StencilVersion="1.0"/>
</Control>
</file>

<file path=customXml/item15.xml><?xml version="1.0" encoding="utf-8"?>
<ct:contentTypeSchema xmlns:ct="http://schemas.microsoft.com/office/2006/metadata/contentType" xmlns:ma="http://schemas.microsoft.com/office/2006/metadata/properties/metaAttributes" ct:_="" ma:_="" ma:contentTypeName="PresentationsDoc" ma:contentTypeID="0x010100606EF5350B4AC34299E527B9221D6B5E001A2DF7EB5935C14F830206357EC2322C" ma:contentTypeVersion="26" ma:contentTypeDescription="" ma:contentTypeScope="" ma:versionID="c8759e92857812bc9b3f43044e235f59">
  <xsd:schema xmlns:xsd="http://www.w3.org/2001/XMLSchema" xmlns:xs="http://www.w3.org/2001/XMLSchema" xmlns:p="http://schemas.microsoft.com/office/2006/metadata/properties" xmlns:ns1="http://schemas.microsoft.com/sharepoint/v3" xmlns:ns2="5a4b3278-325d-441a-b38f-6f1926bc734e" xmlns:ns3="230e9df3-be65-4c73-a93b-d1236ebd677e" xmlns:ns5="9d1f81f6-e953-47ea-988e-33ed651c58e6" targetNamespace="http://schemas.microsoft.com/office/2006/metadata/properties" ma:root="true" ma:fieldsID="11717c46bd241e05dcfc96b6b635e9e1" ns1:_="" ns2:_="" ns3:_="" ns5:_="">
    <xsd:import namespace="http://schemas.microsoft.com/sharepoint/v3"/>
    <xsd:import namespace="5a4b3278-325d-441a-b38f-6f1926bc734e"/>
    <xsd:import namespace="230e9df3-be65-4c73-a93b-d1236ebd677e"/>
    <xsd:import namespace="9d1f81f6-e953-47ea-988e-33ed651c58e6"/>
    <xsd:element name="properties">
      <xsd:complexType>
        <xsd:sequence>
          <xsd:element name="documentManagement">
            <xsd:complexType>
              <xsd:all>
                <xsd:element ref="ns2:o33121adfc264c7dbcad13be7db3ea4b" minOccurs="0"/>
                <xsd:element ref="ns3:TaxCatchAll" minOccurs="0"/>
                <xsd:element ref="ns3:TaxCatchAllLabel" minOccurs="0"/>
                <xsd:element ref="ns2:c4b02e5b2c48420dbed84c0f2f02e9a3" minOccurs="0"/>
                <xsd:element ref="ns2:ba5aa7e3a41a404e868a451481761228"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j129f3114929433a812312450a84994c" minOccurs="0"/>
                <xsd:element ref="ns2:e1750f71052543bd8c4d7217e9f56da0" minOccurs="0"/>
                <xsd:element ref="ns2:Session_x0020_Code" minOccurs="0"/>
                <xsd:element ref="ns2:MS_x0020_Content_x0020_Owner" minOccurs="0"/>
                <xsd:element ref="ns2:j478fa01fff54a9d85f93cc1f742caa8" minOccurs="0"/>
                <xsd:element ref="ns2:n26c0b7259a14f82a9880173edc4cb7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4b3278-325d-441a-b38f-6f1926bc734e" elementFormDefault="qualified">
    <xsd:import namespace="http://schemas.microsoft.com/office/2006/documentManagement/types"/>
    <xsd:import namespace="http://schemas.microsoft.com/office/infopath/2007/PartnerControls"/>
    <xsd:element name="o33121adfc264c7dbcad13be7db3ea4b" ma:index="8" nillable="true" ma:taxonomy="true" ma:internalName="o33121adfc264c7dbcad13be7db3ea4b" ma:taxonomyFieldName="Event_x0020_Name" ma:displayName="Event Name" ma:default="" ma:fieldId="{833121ad-fc26-4c7d-bcad-13be7db3ea4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c4b02e5b2c48420dbed84c0f2f02e9a3" ma:index="12" nillable="true" ma:taxonomy="true" ma:internalName="c4b02e5b2c48420dbed84c0f2f02e9a3" ma:taxonomyFieldName="Event_x0020_Location" ma:displayName="Event Location" ma:default="" ma:fieldId="{c4b02e5b-2c48-420d-bed8-4c0f2f02e9a3}"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ba5aa7e3a41a404e868a451481761228" ma:index="14" nillable="true" ma:taxonomy="true" ma:internalName="ba5aa7e3a41a404e868a451481761228" ma:taxonomyFieldName="Event_x0020_Venue" ma:displayName="Event Venue" ma:default="" ma:fieldId="{ba5aa7e3-a41a-404e-868a-451481761228}"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j129f3114929433a812312450a84994c" ma:index="21" nillable="true" ma:taxonomy="true" ma:internalName="j129f3114929433a812312450a84994c" ma:taxonomyFieldName="Product" ma:displayName="Product" ma:default="" ma:fieldId="{3129f311-4929-433a-8123-12450a84994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1750f71052543bd8c4d7217e9f56da0" ma:index="23" nillable="true" ma:taxonomy="true" ma:internalName="e1750f71052543bd8c4d7217e9f56da0" ma:taxonomyFieldName="Campaign" ma:displayName="Campaign" ma:default="" ma:fieldId="{e1750f71-0525-43bd-8c4d-7217e9f56da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j478fa01fff54a9d85f93cc1f742caa8" ma:index="27" nillable="true" ma:taxonomy="true" ma:internalName="j478fa01fff54a9d85f93cc1f742caa8" ma:taxonomyFieldName="Track" ma:displayName="Track" ma:default="" ma:fieldId="{3478fa01-fff5-4a9d-85f9-3cc1f742caa8}" ma:sspId="e385fb40-52d4-4fae-9c5b-3e8ff8a5878e" ma:termSetId="3d852f0a-ed69-4ada-86bc-dbe628c826af" ma:anchorId="00000000-0000-0000-0000-000000000000" ma:open="true" ma:isKeyword="false">
      <xsd:complexType>
        <xsd:sequence>
          <xsd:element ref="pc:Terms" minOccurs="0" maxOccurs="1"/>
        </xsd:sequence>
      </xsd:complexType>
    </xsd:element>
    <xsd:element name="n26c0b7259a14f82a9880173edc4cb73" ma:index="29" nillable="true" ma:taxonomy="true" ma:internalName="n26c0b7259a14f82a9880173edc4cb73" ma:taxonomyFieldName="Audience1" ma:displayName="Audience" ma:default="" ma:fieldId="{726c0b72-59a1-4f82-a988-0173edc4cb7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a521885-91de-4219-9471-899125a19f6f}" ma:internalName="TaxCatchAll" ma:showField="CatchAllData"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a521885-91de-4219-9471-899125a19f6f}" ma:internalName="TaxCatchAllLabel" ma:readOnly="true" ma:showField="CatchAllDataLabel"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d1f81f6-e953-47ea-988e-33ed651c58e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6.xml><?xml version="1.0" encoding="utf-8"?>
<Control xmlns="http://schemas.microsoft.com/VisualStudio/2011/storyboarding/control">
  <Id Name="ff0f8ea7-3e8e-48bf-a486-b0075f9879df" Revision="1" Stencil="System.MyShapes" StencilVersion="1.0"/>
</Control>
</file>

<file path=customXml/item17.xml><?xml version="1.0" encoding="utf-8"?>
<Control xmlns="http://schemas.microsoft.com/VisualStudio/2011/storyboarding/control">
  <Id Name="a7f021d5-9a53-49d9-9cb5-051f3f7b4093" Revision="1" Stencil="System.MyShapes" StencilVersion="1.0"/>
</Control>
</file>

<file path=customXml/item18.xml><?xml version="1.0" encoding="utf-8"?>
<Control xmlns="http://schemas.microsoft.com/VisualStudio/2011/storyboarding/control">
  <Id Name="07373205-a408-4b13-8dcd-eac5c94314f6" Revision="1" Stencil="System.MyShapes" StencilVersion="1.0"/>
</Control>
</file>

<file path=customXml/item19.xml><?xml version="1.0" encoding="utf-8"?>
<Control xmlns="http://schemas.microsoft.com/VisualStudio/2011/storyboarding/control">
  <Id Name="dc6c6479-732e-4488-8c06-2710d2cafcb7" Revision="1" Stencil="System.MyShapes" StencilVersion="1.0"/>
</Control>
</file>

<file path=customXml/item2.xml><?xml version="1.0" encoding="utf-8"?>
<Control xmlns="http://schemas.microsoft.com/VisualStudio/2011/storyboarding/control">
  <Id Name="ff0f8ea7-3e8e-48bf-a486-b0075f9879df" Revision="1" Stencil="System.MyShapes" StencilVersion="1.0"/>
</Control>
</file>

<file path=customXml/item3.xml><?xml version="1.0" encoding="utf-8"?>
<Control xmlns="http://schemas.microsoft.com/VisualStudio/2011/storyboarding/control">
  <Id Name="569785c6-9651-47d5-ac69-ba9aae3d72b1" Revision="1" Stencil="System.MyShapes" StencilVersion="1.0"/>
</Control>
</file>

<file path=customXml/item4.xml><?xml version="1.0" encoding="utf-8"?>
<Control xmlns="http://schemas.microsoft.com/VisualStudio/2011/storyboarding/control">
  <Id Name="07373205-a408-4b13-8dcd-eac5c94314f6" Revision="1" Stencil="System.MyShapes" StencilVersion="1.0"/>
</Control>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Control xmlns="http://schemas.microsoft.com/VisualStudio/2011/storyboarding/control">
  <Id Name="569785c6-9651-47d5-ac69-ba9aae3d72b1" Revision="1" Stencil="System.MyShapes" StencilVersion="1.0"/>
</Control>
</file>

<file path=customXml/item7.xml><?xml version="1.0" encoding="utf-8"?>
<Control xmlns="http://schemas.microsoft.com/VisualStudio/2011/storyboarding/control">
  <Id Name="a7f021d5-9a53-49d9-9cb5-051f3f7b4093" Revision="1" Stencil="System.MyShapes" StencilVersion="1.0"/>
</Control>
</file>

<file path=customXml/item8.xml><?xml version="1.0" encoding="utf-8"?>
<Control xmlns="http://schemas.microsoft.com/VisualStudio/2011/storyboarding/control">
  <Id Name="416fbc4e-030e-44e4-9a0c-be0adcdba086" Revision="1" Stencil="System.MyShapes" StencilVersion="1.0"/>
</Control>
</file>

<file path=customXml/item9.xml><?xml version="1.0" encoding="utf-8"?>
<Control xmlns="http://schemas.microsoft.com/VisualStudio/2011/storyboarding/control">
  <Id Name="569785c6-9651-47d5-ac69-ba9aae3d72b1" Revision="1" Stencil="System.MyShapes" StencilVersion="1.0"/>
</Control>
</file>

<file path=customXml/itemProps1.xml><?xml version="1.0" encoding="utf-8"?>
<ds:datastoreItem xmlns:ds="http://schemas.openxmlformats.org/officeDocument/2006/customXml" ds:itemID="{30DA16D5-C044-4351-BDCE-37E5891D66C1}">
  <ds:schemaRefs>
    <ds:schemaRef ds:uri="http://schemas.microsoft.com/VisualStudio/2011/storyboarding/control"/>
  </ds:schemaRefs>
</ds:datastoreItem>
</file>

<file path=customXml/itemProps10.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5a4b3278-325d-441a-b38f-6f1926bc734e"/>
    <ds:schemaRef ds:uri="http://schemas.microsoft.com/sharepoint/v3"/>
    <ds:schemaRef ds:uri="230e9df3-be65-4c73-a93b-d1236ebd677e"/>
  </ds:schemaRefs>
</ds:datastoreItem>
</file>

<file path=customXml/itemProps11.xml><?xml version="1.0" encoding="utf-8"?>
<ds:datastoreItem xmlns:ds="http://schemas.openxmlformats.org/officeDocument/2006/customXml" ds:itemID="{163E7F66-EF94-4EC2-812E-D1D65713566C}">
  <ds:schemaRefs>
    <ds:schemaRef ds:uri="http://schemas.microsoft.com/VisualStudio/2011/storyboarding/control"/>
  </ds:schemaRefs>
</ds:datastoreItem>
</file>

<file path=customXml/itemProps12.xml><?xml version="1.0" encoding="utf-8"?>
<ds:datastoreItem xmlns:ds="http://schemas.openxmlformats.org/officeDocument/2006/customXml" ds:itemID="{93D23034-997A-4FF2-93D5-ACA11AD8D5DD}">
  <ds:schemaRefs>
    <ds:schemaRef ds:uri="http://schemas.microsoft.com/VisualStudio/2011/storyboarding/control"/>
  </ds:schemaRefs>
</ds:datastoreItem>
</file>

<file path=customXml/itemProps13.xml><?xml version="1.0" encoding="utf-8"?>
<ds:datastoreItem xmlns:ds="http://schemas.openxmlformats.org/officeDocument/2006/customXml" ds:itemID="{540B411E-0CD2-4C82-AEC6-39F0BA675329}">
  <ds:schemaRefs>
    <ds:schemaRef ds:uri="http://schemas.microsoft.com/VisualStudio/2011/storyboarding/control"/>
  </ds:schemaRefs>
</ds:datastoreItem>
</file>

<file path=customXml/itemProps14.xml><?xml version="1.0" encoding="utf-8"?>
<ds:datastoreItem xmlns:ds="http://schemas.openxmlformats.org/officeDocument/2006/customXml" ds:itemID="{2514E56C-BB77-47F9-A555-0245567FA4B2}">
  <ds:schemaRefs>
    <ds:schemaRef ds:uri="http://schemas.microsoft.com/VisualStudio/2011/storyboarding/control"/>
  </ds:schemaRefs>
</ds:datastoreItem>
</file>

<file path=customXml/itemProps15.xml><?xml version="1.0" encoding="utf-8"?>
<ds:datastoreItem xmlns:ds="http://schemas.openxmlformats.org/officeDocument/2006/customXml" ds:itemID="{B31F57D4-71EF-4F1D-9907-692650C000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a4b3278-325d-441a-b38f-6f1926bc734e"/>
    <ds:schemaRef ds:uri="230e9df3-be65-4c73-a93b-d1236ebd677e"/>
    <ds:schemaRef ds:uri="9d1f81f6-e953-47ea-988e-33ed651c58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6.xml><?xml version="1.0" encoding="utf-8"?>
<ds:datastoreItem xmlns:ds="http://schemas.openxmlformats.org/officeDocument/2006/customXml" ds:itemID="{F0722ACC-BFC8-4DB7-BC76-138381FF5F12}">
  <ds:schemaRefs>
    <ds:schemaRef ds:uri="http://schemas.microsoft.com/VisualStudio/2011/storyboarding/control"/>
  </ds:schemaRefs>
</ds:datastoreItem>
</file>

<file path=customXml/itemProps17.xml><?xml version="1.0" encoding="utf-8"?>
<ds:datastoreItem xmlns:ds="http://schemas.openxmlformats.org/officeDocument/2006/customXml" ds:itemID="{D9C23B97-ED23-42EE-8ABB-32390D45BBDD}">
  <ds:schemaRefs>
    <ds:schemaRef ds:uri="http://schemas.microsoft.com/VisualStudio/2011/storyboarding/control"/>
  </ds:schemaRefs>
</ds:datastoreItem>
</file>

<file path=customXml/itemProps18.xml><?xml version="1.0" encoding="utf-8"?>
<ds:datastoreItem xmlns:ds="http://schemas.openxmlformats.org/officeDocument/2006/customXml" ds:itemID="{D9815237-9B6E-430C-94E2-DDA53AA46F06}">
  <ds:schemaRefs>
    <ds:schemaRef ds:uri="http://schemas.microsoft.com/VisualStudio/2011/storyboarding/control"/>
  </ds:schemaRefs>
</ds:datastoreItem>
</file>

<file path=customXml/itemProps19.xml><?xml version="1.0" encoding="utf-8"?>
<ds:datastoreItem xmlns:ds="http://schemas.openxmlformats.org/officeDocument/2006/customXml" ds:itemID="{36884F51-C794-483F-92C6-F83EAB594B25}">
  <ds:schemaRefs>
    <ds:schemaRef ds:uri="http://schemas.microsoft.com/VisualStudio/2011/storyboarding/control"/>
  </ds:schemaRefs>
</ds:datastoreItem>
</file>

<file path=customXml/itemProps2.xml><?xml version="1.0" encoding="utf-8"?>
<ds:datastoreItem xmlns:ds="http://schemas.openxmlformats.org/officeDocument/2006/customXml" ds:itemID="{8D3F0E51-E4FF-40FA-B378-B7FDAEAF6A5D}">
  <ds:schemaRefs>
    <ds:schemaRef ds:uri="http://schemas.microsoft.com/VisualStudio/2011/storyboarding/control"/>
  </ds:schemaRefs>
</ds:datastoreItem>
</file>

<file path=customXml/itemProps3.xml><?xml version="1.0" encoding="utf-8"?>
<ds:datastoreItem xmlns:ds="http://schemas.openxmlformats.org/officeDocument/2006/customXml" ds:itemID="{E09405AE-7035-4B09-99DC-B87AA1DF6D30}">
  <ds:schemaRefs>
    <ds:schemaRef ds:uri="http://schemas.microsoft.com/VisualStudio/2011/storyboarding/control"/>
  </ds:schemaRefs>
</ds:datastoreItem>
</file>

<file path=customXml/itemProps4.xml><?xml version="1.0" encoding="utf-8"?>
<ds:datastoreItem xmlns:ds="http://schemas.openxmlformats.org/officeDocument/2006/customXml" ds:itemID="{D41013BC-0E75-4112-8513-B541884508F3}">
  <ds:schemaRefs>
    <ds:schemaRef ds:uri="http://schemas.microsoft.com/VisualStudio/2011/storyboarding/control"/>
  </ds:schemaRefs>
</ds:datastoreItem>
</file>

<file path=customXml/itemProps5.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6.xml><?xml version="1.0" encoding="utf-8"?>
<ds:datastoreItem xmlns:ds="http://schemas.openxmlformats.org/officeDocument/2006/customXml" ds:itemID="{94E740E3-1281-43C9-8E13-EC5C0862CB26}">
  <ds:schemaRefs>
    <ds:schemaRef ds:uri="http://schemas.microsoft.com/VisualStudio/2011/storyboarding/control"/>
  </ds:schemaRefs>
</ds:datastoreItem>
</file>

<file path=customXml/itemProps7.xml><?xml version="1.0" encoding="utf-8"?>
<ds:datastoreItem xmlns:ds="http://schemas.openxmlformats.org/officeDocument/2006/customXml" ds:itemID="{0D02D6EE-AF3B-4F79-9554-DF953C864E94}">
  <ds:schemaRefs>
    <ds:schemaRef ds:uri="http://schemas.microsoft.com/VisualStudio/2011/storyboarding/control"/>
  </ds:schemaRefs>
</ds:datastoreItem>
</file>

<file path=customXml/itemProps8.xml><?xml version="1.0" encoding="utf-8"?>
<ds:datastoreItem xmlns:ds="http://schemas.openxmlformats.org/officeDocument/2006/customXml" ds:itemID="{FF53A0CF-9E47-4D75-8051-188B11494B16}">
  <ds:schemaRefs>
    <ds:schemaRef ds:uri="http://schemas.microsoft.com/VisualStudio/2011/storyboarding/control"/>
  </ds:schemaRefs>
</ds:datastoreItem>
</file>

<file path=customXml/itemProps9.xml><?xml version="1.0" encoding="utf-8"?>
<ds:datastoreItem xmlns:ds="http://schemas.openxmlformats.org/officeDocument/2006/customXml" ds:itemID="{45DF080E-AD38-4E06-B2D4-3602DC97EA52}">
  <ds:schemaRefs>
    <ds:schemaRef ds:uri="http://schemas.microsoft.com/VisualStudio/2011/storyboarding/control"/>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Ready_Breakout_Template_v04</Template>
  <TotalTime>4043</TotalTime>
  <Words>2019</Words>
  <Application>Microsoft Office PowerPoint</Application>
  <PresentationFormat>Widescreen</PresentationFormat>
  <Paragraphs>334</Paragraphs>
  <Slides>35</Slides>
  <Notes>1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7" baseType="lpstr">
      <vt:lpstr>Amazon Ember</vt:lpstr>
      <vt:lpstr>Arial</vt:lpstr>
      <vt:lpstr>Consolas</vt:lpstr>
      <vt:lpstr>Lucida Console</vt:lpstr>
      <vt:lpstr>medium-content-serif-font</vt:lpstr>
      <vt:lpstr>Segoe UI</vt:lpstr>
      <vt:lpstr>Segoe UI Light</vt:lpstr>
      <vt:lpstr>Segoe UI Semibold</vt:lpstr>
      <vt:lpstr>Segoe UI Semilight</vt:lpstr>
      <vt:lpstr>Wingdings</vt:lpstr>
      <vt:lpstr>9-51027_Microsoft_Ready_Template</vt:lpstr>
      <vt:lpstr>Packager Shell Object</vt:lpstr>
      <vt:lpstr>PowerPoint Presentation</vt:lpstr>
      <vt:lpstr>PowerPoint Presentation</vt:lpstr>
      <vt:lpstr>PowerPoint Presentation</vt:lpstr>
      <vt:lpstr>Credits</vt:lpstr>
      <vt:lpstr>Agenda</vt:lpstr>
      <vt:lpstr>Overview about the DSC Basics</vt:lpstr>
      <vt:lpstr>What is DSC?</vt:lpstr>
      <vt:lpstr>Components of DSC</vt:lpstr>
      <vt:lpstr>Imperative vs. Declarative Language</vt:lpstr>
      <vt:lpstr>Powershell Script (Idempotent Example)</vt:lpstr>
      <vt:lpstr>Desired State Configuration Script (Example)</vt:lpstr>
      <vt:lpstr>Push / Pull</vt:lpstr>
      <vt:lpstr>What is Configuration Data​</vt:lpstr>
      <vt:lpstr>Demo: Configuration Data</vt:lpstr>
      <vt:lpstr>Configuration Data and Scalability</vt:lpstr>
      <vt:lpstr>Describing the change: Solving the configuration data conundrum</vt:lpstr>
      <vt:lpstr>Configuration Data Composition Model</vt:lpstr>
      <vt:lpstr>Override layers and optional merge</vt:lpstr>
      <vt:lpstr>Roles and configurations</vt:lpstr>
      <vt:lpstr>Demo: Datum Hierarchical Data</vt:lpstr>
      <vt:lpstr>Demo: DSC Artefacts</vt:lpstr>
      <vt:lpstr>Delivering the change: CI/CD Infrastructure Release Pipeline</vt:lpstr>
      <vt:lpstr>What makes a good Solution? </vt:lpstr>
      <vt:lpstr>How can we improve this?</vt:lpstr>
      <vt:lpstr>Artefact (or Artifact)</vt:lpstr>
      <vt:lpstr>Build trust &amp; abstract complexity </vt:lpstr>
      <vt:lpstr>How to create artefacts?</vt:lpstr>
      <vt:lpstr>PowerShell Module Release Pipeline</vt:lpstr>
      <vt:lpstr>DSC Infrastructure Release Pipeline</vt:lpstr>
      <vt:lpstr>PowerPoint Presentation</vt:lpstr>
      <vt:lpstr>PowerPoint Presentation</vt:lpstr>
      <vt:lpstr>Demo: Fail Fast</vt:lpstr>
      <vt:lpstr>Demo: Delivering Change</vt:lpstr>
      <vt:lpstr>Thank You!</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Jan-Hendrik Peters</dc:creator>
  <cp:keywords>Microsoft Ready</cp:keywords>
  <dc:description/>
  <cp:lastModifiedBy>Raimund Andrée</cp:lastModifiedBy>
  <cp:revision>48</cp:revision>
  <dcterms:created xsi:type="dcterms:W3CDTF">2019-01-04T10:00:04Z</dcterms:created>
  <dcterms:modified xsi:type="dcterms:W3CDTF">2022-06-23T06:37:19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EF5350B4AC34299E527B9221D6B5E001A2DF7EB5935C14F830206357EC2322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